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83" r:id="rId4"/>
  </p:sldMasterIdLst>
  <p:notesMasterIdLst>
    <p:notesMasterId r:id="rId13"/>
  </p:notesMasterIdLst>
  <p:sldIdLst>
    <p:sldId id="2147379899" r:id="rId5"/>
    <p:sldId id="2147379892" r:id="rId6"/>
    <p:sldId id="2147379893" r:id="rId7"/>
    <p:sldId id="2147379898" r:id="rId8"/>
    <p:sldId id="2147379894" r:id="rId9"/>
    <p:sldId id="2147379896" r:id="rId10"/>
    <p:sldId id="2147379895" r:id="rId11"/>
    <p:sldId id="2147379900" r:id="rId12"/>
  </p:sldIdLst>
  <p:sldSz cx="9144000" cy="5143500" type="screen16x9"/>
  <p:notesSz cx="6858000" cy="9926638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C Update" id="{4CA15922-87E5-4392-A8D1-C9EBCACDE108}">
          <p14:sldIdLst>
            <p14:sldId id="2147379899"/>
            <p14:sldId id="2147379892"/>
            <p14:sldId id="2147379893"/>
            <p14:sldId id="2147379898"/>
            <p14:sldId id="2147379894"/>
            <p14:sldId id="2147379896"/>
            <p14:sldId id="2147379895"/>
            <p14:sldId id="2147379900"/>
          </p14:sldIdLst>
        </p14:section>
      </p14:sectionLst>
    </p:ex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3" orient="horz" pos="25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dorinska, Tsvetelina" initials="TT" lastIdx="2" clrIdx="0"/>
  <p:cmAuthor id="2" name="Van Beirendonck, Willem" initials="VBW" lastIdx="11" clrIdx="1"/>
  <p:cmAuthor id="3" name="Willem Van Beirendonck" initials="WVB" lastIdx="2" clrIdx="2">
    <p:extLst>
      <p:ext uri="{19B8F6BF-5375-455C-9EA6-DF929625EA0E}">
        <p15:presenceInfo xmlns:p15="http://schemas.microsoft.com/office/powerpoint/2012/main" userId="a2576cc9171e5f0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C034"/>
    <a:srgbClr val="D00A2E"/>
    <a:srgbClr val="FFE89F"/>
    <a:srgbClr val="FFDD71"/>
    <a:srgbClr val="CF0A2C"/>
    <a:srgbClr val="F3A36D"/>
    <a:srgbClr val="F4B183"/>
    <a:srgbClr val="EF8B47"/>
    <a:srgbClr val="F8C479"/>
    <a:srgbClr val="F6BE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8A22A67-D799-4041-9A13-2C3ECEAC861D}" v="268" dt="2024-12-19T07:26:27.1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38" autoAdjust="0"/>
    <p:restoredTop sz="95214" autoAdjust="0"/>
  </p:normalViewPr>
  <p:slideViewPr>
    <p:cSldViewPr snapToGrid="0">
      <p:cViewPr varScale="1">
        <p:scale>
          <a:sx n="143" d="100"/>
          <a:sy n="143" d="100"/>
        </p:scale>
        <p:origin x="930" y="114"/>
      </p:cViewPr>
      <p:guideLst>
        <p:guide pos="2880"/>
        <p:guide orient="horz" pos="25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iang, Nancy" userId="2e38f130-956d-425b-8d6b-1b76a544cfdd" providerId="ADAL" clId="{98A22A67-D799-4041-9A13-2C3ECEAC861D}"/>
    <pc:docChg chg="undo redo custSel addSld delSld modSld sldOrd modSection">
      <pc:chgData name="Jiang, Nancy" userId="2e38f130-956d-425b-8d6b-1b76a544cfdd" providerId="ADAL" clId="{98A22A67-D799-4041-9A13-2C3ECEAC861D}" dt="2024-12-20T06:08:38.921" v="3907" actId="20577"/>
      <pc:docMkLst>
        <pc:docMk/>
      </pc:docMkLst>
      <pc:sldChg chg="addSp delSp modSp new mod">
        <pc:chgData name="Jiang, Nancy" userId="2e38f130-956d-425b-8d6b-1b76a544cfdd" providerId="ADAL" clId="{98A22A67-D799-4041-9A13-2C3ECEAC861D}" dt="2024-12-20T06:08:38.921" v="3907" actId="20577"/>
        <pc:sldMkLst>
          <pc:docMk/>
          <pc:sldMk cId="2282914595" sldId="2147379893"/>
        </pc:sldMkLst>
        <pc:spChg chg="del mod">
          <ac:chgData name="Jiang, Nancy" userId="2e38f130-956d-425b-8d6b-1b76a544cfdd" providerId="ADAL" clId="{98A22A67-D799-4041-9A13-2C3ECEAC861D}" dt="2024-12-17T03:53:25.745" v="3" actId="478"/>
          <ac:spMkLst>
            <pc:docMk/>
            <pc:sldMk cId="2282914595" sldId="2147379893"/>
            <ac:spMk id="2" creationId="{1297877B-AD19-E4C5-2C76-89E4DB2113B5}"/>
          </ac:spMkLst>
        </pc:spChg>
        <pc:spChg chg="del">
          <ac:chgData name="Jiang, Nancy" userId="2e38f130-956d-425b-8d6b-1b76a544cfdd" providerId="ADAL" clId="{98A22A67-D799-4041-9A13-2C3ECEAC861D}" dt="2024-12-17T03:53:49.915" v="25" actId="478"/>
          <ac:spMkLst>
            <pc:docMk/>
            <pc:sldMk cId="2282914595" sldId="2147379893"/>
            <ac:spMk id="4" creationId="{95F44C3F-E4F4-EE8A-C9F3-1962B3DE5AA7}"/>
          </ac:spMkLst>
        </pc:spChg>
        <pc:spChg chg="add mod">
          <ac:chgData name="Jiang, Nancy" userId="2e38f130-956d-425b-8d6b-1b76a544cfdd" providerId="ADAL" clId="{98A22A67-D799-4041-9A13-2C3ECEAC861D}" dt="2024-12-19T07:16:33.013" v="3353" actId="1036"/>
          <ac:spMkLst>
            <pc:docMk/>
            <pc:sldMk cId="2282914595" sldId="2147379893"/>
            <ac:spMk id="4" creationId="{FA212F74-09F6-979B-BB06-B2526A745AB8}"/>
          </ac:spMkLst>
        </pc:spChg>
        <pc:spChg chg="add mod">
          <ac:chgData name="Jiang, Nancy" userId="2e38f130-956d-425b-8d6b-1b76a544cfdd" providerId="ADAL" clId="{98A22A67-D799-4041-9A13-2C3ECEAC861D}" dt="2024-12-20T03:04:01.423" v="3774" actId="1036"/>
          <ac:spMkLst>
            <pc:docMk/>
            <pc:sldMk cId="2282914595" sldId="2147379893"/>
            <ac:spMk id="5" creationId="{C6B97E61-481A-C3D5-B827-D2462CED6D20}"/>
          </ac:spMkLst>
        </pc:spChg>
        <pc:spChg chg="add del mod">
          <ac:chgData name="Jiang, Nancy" userId="2e38f130-956d-425b-8d6b-1b76a544cfdd" providerId="ADAL" clId="{98A22A67-D799-4041-9A13-2C3ECEAC861D}" dt="2024-12-19T02:23:46.016" v="1424" actId="478"/>
          <ac:spMkLst>
            <pc:docMk/>
            <pc:sldMk cId="2282914595" sldId="2147379893"/>
            <ac:spMk id="6" creationId="{6FF32CE5-C7B2-4708-C447-FAD0DAEFA2C4}"/>
          </ac:spMkLst>
        </pc:spChg>
        <pc:spChg chg="add del mod">
          <ac:chgData name="Jiang, Nancy" userId="2e38f130-956d-425b-8d6b-1b76a544cfdd" providerId="ADAL" clId="{98A22A67-D799-4041-9A13-2C3ECEAC861D}" dt="2024-12-17T03:53:28.395" v="4" actId="478"/>
          <ac:spMkLst>
            <pc:docMk/>
            <pc:sldMk cId="2282914595" sldId="2147379893"/>
            <ac:spMk id="6" creationId="{C73A05F5-C6BA-A1D1-4BA7-EC913EC5ED3B}"/>
          </ac:spMkLst>
        </pc:spChg>
        <pc:spChg chg="add mod">
          <ac:chgData name="Jiang, Nancy" userId="2e38f130-956d-425b-8d6b-1b76a544cfdd" providerId="ADAL" clId="{98A22A67-D799-4041-9A13-2C3ECEAC861D}" dt="2024-12-19T05:36:45.353" v="2538" actId="14100"/>
          <ac:spMkLst>
            <pc:docMk/>
            <pc:sldMk cId="2282914595" sldId="2147379893"/>
            <ac:spMk id="7" creationId="{59FD385B-598F-5FC5-A442-2B2B3A88FDF5}"/>
          </ac:spMkLst>
        </pc:spChg>
        <pc:spChg chg="add del mod">
          <ac:chgData name="Jiang, Nancy" userId="2e38f130-956d-425b-8d6b-1b76a544cfdd" providerId="ADAL" clId="{98A22A67-D799-4041-9A13-2C3ECEAC861D}" dt="2024-12-19T02:23:54.712" v="1425" actId="478"/>
          <ac:spMkLst>
            <pc:docMk/>
            <pc:sldMk cId="2282914595" sldId="2147379893"/>
            <ac:spMk id="8" creationId="{823D8A70-94DE-2590-EA0D-3C57F0D5C3E3}"/>
          </ac:spMkLst>
        </pc:spChg>
        <pc:spChg chg="add del mod">
          <ac:chgData name="Jiang, Nancy" userId="2e38f130-956d-425b-8d6b-1b76a544cfdd" providerId="ADAL" clId="{98A22A67-D799-4041-9A13-2C3ECEAC861D}" dt="2024-12-19T02:25:54.612" v="1437" actId="21"/>
          <ac:spMkLst>
            <pc:docMk/>
            <pc:sldMk cId="2282914595" sldId="2147379893"/>
            <ac:spMk id="10" creationId="{10F48C04-EE85-0D25-8D42-FB74E21F9E77}"/>
          </ac:spMkLst>
        </pc:spChg>
        <pc:spChg chg="add del mod">
          <ac:chgData name="Jiang, Nancy" userId="2e38f130-956d-425b-8d6b-1b76a544cfdd" providerId="ADAL" clId="{98A22A67-D799-4041-9A13-2C3ECEAC861D}" dt="2024-12-19T02:26:34.642" v="1452" actId="21"/>
          <ac:spMkLst>
            <pc:docMk/>
            <pc:sldMk cId="2282914595" sldId="2147379893"/>
            <ac:spMk id="11" creationId="{DAF237B8-CEBB-1036-E32A-B5C4B3114F82}"/>
          </ac:spMkLst>
        </pc:spChg>
        <pc:spChg chg="add del mod topLvl">
          <ac:chgData name="Jiang, Nancy" userId="2e38f130-956d-425b-8d6b-1b76a544cfdd" providerId="ADAL" clId="{98A22A67-D799-4041-9A13-2C3ECEAC861D}" dt="2024-12-19T06:16:56.962" v="2914" actId="478"/>
          <ac:spMkLst>
            <pc:docMk/>
            <pc:sldMk cId="2282914595" sldId="2147379893"/>
            <ac:spMk id="18" creationId="{6450D920-29B0-330F-04A3-A608F8731EEE}"/>
          </ac:spMkLst>
        </pc:spChg>
        <pc:spChg chg="add mod topLvl">
          <ac:chgData name="Jiang, Nancy" userId="2e38f130-956d-425b-8d6b-1b76a544cfdd" providerId="ADAL" clId="{98A22A67-D799-4041-9A13-2C3ECEAC861D}" dt="2024-12-19T07:33:57.687" v="3741" actId="1036"/>
          <ac:spMkLst>
            <pc:docMk/>
            <pc:sldMk cId="2282914595" sldId="2147379893"/>
            <ac:spMk id="19" creationId="{F00A4CC6-E47D-5F79-99ED-2ABB1A379257}"/>
          </ac:spMkLst>
        </pc:spChg>
        <pc:spChg chg="add del mod topLvl">
          <ac:chgData name="Jiang, Nancy" userId="2e38f130-956d-425b-8d6b-1b76a544cfdd" providerId="ADAL" clId="{98A22A67-D799-4041-9A13-2C3ECEAC861D}" dt="2024-12-19T07:33:50.599" v="3725" actId="478"/>
          <ac:spMkLst>
            <pc:docMk/>
            <pc:sldMk cId="2282914595" sldId="2147379893"/>
            <ac:spMk id="21" creationId="{AF468279-19A9-6054-5978-652B157B01C1}"/>
          </ac:spMkLst>
        </pc:spChg>
        <pc:spChg chg="add del mod topLvl">
          <ac:chgData name="Jiang, Nancy" userId="2e38f130-956d-425b-8d6b-1b76a544cfdd" providerId="ADAL" clId="{98A22A67-D799-4041-9A13-2C3ECEAC861D}" dt="2024-12-19T06:16:59.017" v="2915" actId="478"/>
          <ac:spMkLst>
            <pc:docMk/>
            <pc:sldMk cId="2282914595" sldId="2147379893"/>
            <ac:spMk id="22" creationId="{F9D0FB19-228E-346B-0E05-44AC94F43DB5}"/>
          </ac:spMkLst>
        </pc:spChg>
        <pc:spChg chg="add mod">
          <ac:chgData name="Jiang, Nancy" userId="2e38f130-956d-425b-8d6b-1b76a544cfdd" providerId="ADAL" clId="{98A22A67-D799-4041-9A13-2C3ECEAC861D}" dt="2024-12-19T07:11:36.189" v="3266" actId="20577"/>
          <ac:spMkLst>
            <pc:docMk/>
            <pc:sldMk cId="2282914595" sldId="2147379893"/>
            <ac:spMk id="24" creationId="{47D1D47E-2E4C-DD6B-C8CF-9D6BAA266798}"/>
          </ac:spMkLst>
        </pc:spChg>
        <pc:spChg chg="add mod">
          <ac:chgData name="Jiang, Nancy" userId="2e38f130-956d-425b-8d6b-1b76a544cfdd" providerId="ADAL" clId="{98A22A67-D799-4041-9A13-2C3ECEAC861D}" dt="2024-12-19T07:11:08.706" v="3241" actId="1035"/>
          <ac:spMkLst>
            <pc:docMk/>
            <pc:sldMk cId="2282914595" sldId="2147379893"/>
            <ac:spMk id="27" creationId="{E62E84A7-418E-8065-9C73-2C056F33AAA7}"/>
          </ac:spMkLst>
        </pc:spChg>
        <pc:spChg chg="add del mod">
          <ac:chgData name="Jiang, Nancy" userId="2e38f130-956d-425b-8d6b-1b76a544cfdd" providerId="ADAL" clId="{98A22A67-D799-4041-9A13-2C3ECEAC861D}" dt="2024-12-19T07:30:03.029" v="3530" actId="478"/>
          <ac:spMkLst>
            <pc:docMk/>
            <pc:sldMk cId="2282914595" sldId="2147379893"/>
            <ac:spMk id="29" creationId="{05EE35E1-0D56-1A25-91C5-43F4B357CC4C}"/>
          </ac:spMkLst>
        </pc:spChg>
        <pc:spChg chg="add mod">
          <ac:chgData name="Jiang, Nancy" userId="2e38f130-956d-425b-8d6b-1b76a544cfdd" providerId="ADAL" clId="{98A22A67-D799-4041-9A13-2C3ECEAC861D}" dt="2024-12-20T06:08:38.921" v="3907" actId="20577"/>
          <ac:spMkLst>
            <pc:docMk/>
            <pc:sldMk cId="2282914595" sldId="2147379893"/>
            <ac:spMk id="30" creationId="{0A1C06F3-E1B4-BF3F-0F70-935B49B2A207}"/>
          </ac:spMkLst>
        </pc:spChg>
        <pc:spChg chg="add mod">
          <ac:chgData name="Jiang, Nancy" userId="2e38f130-956d-425b-8d6b-1b76a544cfdd" providerId="ADAL" clId="{98A22A67-D799-4041-9A13-2C3ECEAC861D}" dt="2024-12-20T06:04:24.705" v="3787" actId="20577"/>
          <ac:spMkLst>
            <pc:docMk/>
            <pc:sldMk cId="2282914595" sldId="2147379893"/>
            <ac:spMk id="31" creationId="{BC015B97-B316-8CD7-9A66-FA37219E2DBC}"/>
          </ac:spMkLst>
        </pc:spChg>
        <pc:spChg chg="add mod">
          <ac:chgData name="Jiang, Nancy" userId="2e38f130-956d-425b-8d6b-1b76a544cfdd" providerId="ADAL" clId="{98A22A67-D799-4041-9A13-2C3ECEAC861D}" dt="2024-12-20T06:03:49.255" v="3778" actId="20577"/>
          <ac:spMkLst>
            <pc:docMk/>
            <pc:sldMk cId="2282914595" sldId="2147379893"/>
            <ac:spMk id="32" creationId="{64BEEB26-4E19-CDF4-F59F-C5A75CC4A401}"/>
          </ac:spMkLst>
        </pc:spChg>
        <pc:spChg chg="add mod">
          <ac:chgData name="Jiang, Nancy" userId="2e38f130-956d-425b-8d6b-1b76a544cfdd" providerId="ADAL" clId="{98A22A67-D799-4041-9A13-2C3ECEAC861D}" dt="2024-12-19T07:33:57.687" v="3741" actId="1036"/>
          <ac:spMkLst>
            <pc:docMk/>
            <pc:sldMk cId="2282914595" sldId="2147379893"/>
            <ac:spMk id="34" creationId="{F20E2DC1-6CF7-E0D9-2AB9-136789AA88D2}"/>
          </ac:spMkLst>
        </pc:spChg>
        <pc:spChg chg="add mod">
          <ac:chgData name="Jiang, Nancy" userId="2e38f130-956d-425b-8d6b-1b76a544cfdd" providerId="ADAL" clId="{98A22A67-D799-4041-9A13-2C3ECEAC861D}" dt="2024-12-20T06:03:45.538" v="3777" actId="20577"/>
          <ac:spMkLst>
            <pc:docMk/>
            <pc:sldMk cId="2282914595" sldId="2147379893"/>
            <ac:spMk id="35" creationId="{4E6F3495-3F12-2F17-9AFE-559582AB6FE3}"/>
          </ac:spMkLst>
        </pc:spChg>
        <pc:spChg chg="add mod">
          <ac:chgData name="Jiang, Nancy" userId="2e38f130-956d-425b-8d6b-1b76a544cfdd" providerId="ADAL" clId="{98A22A67-D799-4041-9A13-2C3ECEAC861D}" dt="2024-12-19T07:16:33.013" v="3353" actId="1036"/>
          <ac:spMkLst>
            <pc:docMk/>
            <pc:sldMk cId="2282914595" sldId="2147379893"/>
            <ac:spMk id="36" creationId="{016EC0D9-3E7B-7677-CFFE-EC0D09A15389}"/>
          </ac:spMkLst>
        </pc:spChg>
        <pc:spChg chg="add mod">
          <ac:chgData name="Jiang, Nancy" userId="2e38f130-956d-425b-8d6b-1b76a544cfdd" providerId="ADAL" clId="{98A22A67-D799-4041-9A13-2C3ECEAC861D}" dt="2024-12-19T07:16:33.013" v="3353" actId="1036"/>
          <ac:spMkLst>
            <pc:docMk/>
            <pc:sldMk cId="2282914595" sldId="2147379893"/>
            <ac:spMk id="37" creationId="{A7EFED6D-4ED8-E81B-D12B-3ACC225E9EA2}"/>
          </ac:spMkLst>
        </pc:spChg>
        <pc:spChg chg="add mod">
          <ac:chgData name="Jiang, Nancy" userId="2e38f130-956d-425b-8d6b-1b76a544cfdd" providerId="ADAL" clId="{98A22A67-D799-4041-9A13-2C3ECEAC861D}" dt="2024-12-19T07:16:33.013" v="3353" actId="1036"/>
          <ac:spMkLst>
            <pc:docMk/>
            <pc:sldMk cId="2282914595" sldId="2147379893"/>
            <ac:spMk id="38" creationId="{52217CB4-B3DA-A289-3300-02BDDD102967}"/>
          </ac:spMkLst>
        </pc:spChg>
        <pc:spChg chg="add mod">
          <ac:chgData name="Jiang, Nancy" userId="2e38f130-956d-425b-8d6b-1b76a544cfdd" providerId="ADAL" clId="{98A22A67-D799-4041-9A13-2C3ECEAC861D}" dt="2024-12-19T07:16:33.013" v="3353" actId="1036"/>
          <ac:spMkLst>
            <pc:docMk/>
            <pc:sldMk cId="2282914595" sldId="2147379893"/>
            <ac:spMk id="39" creationId="{ACBA52BF-49C8-C35F-D427-C28CB0B084FE}"/>
          </ac:spMkLst>
        </pc:spChg>
        <pc:spChg chg="add mod">
          <ac:chgData name="Jiang, Nancy" userId="2e38f130-956d-425b-8d6b-1b76a544cfdd" providerId="ADAL" clId="{98A22A67-D799-4041-9A13-2C3ECEAC861D}" dt="2024-12-19T07:16:33.013" v="3353" actId="1036"/>
          <ac:spMkLst>
            <pc:docMk/>
            <pc:sldMk cId="2282914595" sldId="2147379893"/>
            <ac:spMk id="40" creationId="{0D74D986-750F-EC00-E911-743B0CD1F4AE}"/>
          </ac:spMkLst>
        </pc:spChg>
        <pc:spChg chg="add mod">
          <ac:chgData name="Jiang, Nancy" userId="2e38f130-956d-425b-8d6b-1b76a544cfdd" providerId="ADAL" clId="{98A22A67-D799-4041-9A13-2C3ECEAC861D}" dt="2024-12-19T05:43:48.063" v="2659" actId="1076"/>
          <ac:spMkLst>
            <pc:docMk/>
            <pc:sldMk cId="2282914595" sldId="2147379893"/>
            <ac:spMk id="41" creationId="{934CB8DE-55C3-20D9-24C8-80809941A76A}"/>
          </ac:spMkLst>
        </pc:spChg>
        <pc:spChg chg="add del mod">
          <ac:chgData name="Jiang, Nancy" userId="2e38f130-956d-425b-8d6b-1b76a544cfdd" providerId="ADAL" clId="{98A22A67-D799-4041-9A13-2C3ECEAC861D}" dt="2024-12-19T06:13:45.533" v="2907" actId="478"/>
          <ac:spMkLst>
            <pc:docMk/>
            <pc:sldMk cId="2282914595" sldId="2147379893"/>
            <ac:spMk id="46" creationId="{E3637322-6980-329E-2885-85F19748B7CA}"/>
          </ac:spMkLst>
        </pc:spChg>
        <pc:spChg chg="add mod">
          <ac:chgData name="Jiang, Nancy" userId="2e38f130-956d-425b-8d6b-1b76a544cfdd" providerId="ADAL" clId="{98A22A67-D799-4041-9A13-2C3ECEAC861D}" dt="2024-12-19T07:33:57.687" v="3741" actId="1036"/>
          <ac:spMkLst>
            <pc:docMk/>
            <pc:sldMk cId="2282914595" sldId="2147379893"/>
            <ac:spMk id="55" creationId="{348779AE-101C-8B28-16B4-EE4184A4743E}"/>
          </ac:spMkLst>
        </pc:spChg>
        <pc:spChg chg="add mod">
          <ac:chgData name="Jiang, Nancy" userId="2e38f130-956d-425b-8d6b-1b76a544cfdd" providerId="ADAL" clId="{98A22A67-D799-4041-9A13-2C3ECEAC861D}" dt="2024-12-19T07:46:22.759" v="3755" actId="1035"/>
          <ac:spMkLst>
            <pc:docMk/>
            <pc:sldMk cId="2282914595" sldId="2147379893"/>
            <ac:spMk id="56" creationId="{A5C987D5-2150-D1AC-7222-953978417CAD}"/>
          </ac:spMkLst>
        </pc:spChg>
        <pc:spChg chg="add mod">
          <ac:chgData name="Jiang, Nancy" userId="2e38f130-956d-425b-8d6b-1b76a544cfdd" providerId="ADAL" clId="{98A22A67-D799-4041-9A13-2C3ECEAC861D}" dt="2024-12-19T07:34:06.936" v="3742" actId="1076"/>
          <ac:spMkLst>
            <pc:docMk/>
            <pc:sldMk cId="2282914595" sldId="2147379893"/>
            <ac:spMk id="58" creationId="{361885C1-31A5-0AB5-CDFC-C50E35AEB1D9}"/>
          </ac:spMkLst>
        </pc:spChg>
        <pc:spChg chg="add mod">
          <ac:chgData name="Jiang, Nancy" userId="2e38f130-956d-425b-8d6b-1b76a544cfdd" providerId="ADAL" clId="{98A22A67-D799-4041-9A13-2C3ECEAC861D}" dt="2024-12-19T07:33:57.687" v="3741" actId="1036"/>
          <ac:spMkLst>
            <pc:docMk/>
            <pc:sldMk cId="2282914595" sldId="2147379893"/>
            <ac:spMk id="60" creationId="{AA11E77D-79E2-70FD-7B60-5381CC791BD7}"/>
          </ac:spMkLst>
        </pc:spChg>
        <pc:spChg chg="add del mod">
          <ac:chgData name="Jiang, Nancy" userId="2e38f130-956d-425b-8d6b-1b76a544cfdd" providerId="ADAL" clId="{98A22A67-D799-4041-9A13-2C3ECEAC861D}" dt="2024-12-17T07:56:34.264" v="389" actId="478"/>
          <ac:spMkLst>
            <pc:docMk/>
            <pc:sldMk cId="2282914595" sldId="2147379893"/>
            <ac:spMk id="66" creationId="{3850A54D-9C7D-55E4-CF55-14E8BB948077}"/>
          </ac:spMkLst>
        </pc:spChg>
        <pc:spChg chg="add mod topLvl">
          <ac:chgData name="Jiang, Nancy" userId="2e38f130-956d-425b-8d6b-1b76a544cfdd" providerId="ADAL" clId="{98A22A67-D799-4041-9A13-2C3ECEAC861D}" dt="2024-12-19T07:33:57.687" v="3741" actId="1036"/>
          <ac:spMkLst>
            <pc:docMk/>
            <pc:sldMk cId="2282914595" sldId="2147379893"/>
            <ac:spMk id="67" creationId="{0B49CA2A-BCE6-A620-ECEB-903E19781069}"/>
          </ac:spMkLst>
        </pc:spChg>
        <pc:spChg chg="add mod topLvl">
          <ac:chgData name="Jiang, Nancy" userId="2e38f130-956d-425b-8d6b-1b76a544cfdd" providerId="ADAL" clId="{98A22A67-D799-4041-9A13-2C3ECEAC861D}" dt="2024-12-19T07:33:57.687" v="3741" actId="1036"/>
          <ac:spMkLst>
            <pc:docMk/>
            <pc:sldMk cId="2282914595" sldId="2147379893"/>
            <ac:spMk id="68" creationId="{0B97CD5C-2C9E-0594-178F-DCB75A7A9961}"/>
          </ac:spMkLst>
        </pc:spChg>
        <pc:spChg chg="add mod topLvl">
          <ac:chgData name="Jiang, Nancy" userId="2e38f130-956d-425b-8d6b-1b76a544cfdd" providerId="ADAL" clId="{98A22A67-D799-4041-9A13-2C3ECEAC861D}" dt="2024-12-19T07:33:57.687" v="3741" actId="1036"/>
          <ac:spMkLst>
            <pc:docMk/>
            <pc:sldMk cId="2282914595" sldId="2147379893"/>
            <ac:spMk id="69" creationId="{176BB108-A246-B0B5-415F-04FA4FF5BCF3}"/>
          </ac:spMkLst>
        </pc:spChg>
        <pc:spChg chg="add del mod">
          <ac:chgData name="Jiang, Nancy" userId="2e38f130-956d-425b-8d6b-1b76a544cfdd" providerId="ADAL" clId="{98A22A67-D799-4041-9A13-2C3ECEAC861D}" dt="2024-12-17T07:56:35.353" v="390" actId="478"/>
          <ac:spMkLst>
            <pc:docMk/>
            <pc:sldMk cId="2282914595" sldId="2147379893"/>
            <ac:spMk id="70" creationId="{0072681F-FAE4-137D-B88D-2B96B222F687}"/>
          </ac:spMkLst>
        </pc:spChg>
        <pc:spChg chg="add mod topLvl">
          <ac:chgData name="Jiang, Nancy" userId="2e38f130-956d-425b-8d6b-1b76a544cfdd" providerId="ADAL" clId="{98A22A67-D799-4041-9A13-2C3ECEAC861D}" dt="2024-12-19T07:33:57.687" v="3741" actId="1036"/>
          <ac:spMkLst>
            <pc:docMk/>
            <pc:sldMk cId="2282914595" sldId="2147379893"/>
            <ac:spMk id="71" creationId="{32D7328F-774A-D589-503A-972F870B8C97}"/>
          </ac:spMkLst>
        </pc:spChg>
        <pc:spChg chg="add mod topLvl">
          <ac:chgData name="Jiang, Nancy" userId="2e38f130-956d-425b-8d6b-1b76a544cfdd" providerId="ADAL" clId="{98A22A67-D799-4041-9A13-2C3ECEAC861D}" dt="2024-12-19T07:33:57.687" v="3741" actId="1036"/>
          <ac:spMkLst>
            <pc:docMk/>
            <pc:sldMk cId="2282914595" sldId="2147379893"/>
            <ac:spMk id="72" creationId="{6965010C-1861-0013-A423-35F1FE430D6E}"/>
          </ac:spMkLst>
        </pc:spChg>
        <pc:spChg chg="add mod topLvl">
          <ac:chgData name="Jiang, Nancy" userId="2e38f130-956d-425b-8d6b-1b76a544cfdd" providerId="ADAL" clId="{98A22A67-D799-4041-9A13-2C3ECEAC861D}" dt="2024-12-19T07:33:57.687" v="3741" actId="1036"/>
          <ac:spMkLst>
            <pc:docMk/>
            <pc:sldMk cId="2282914595" sldId="2147379893"/>
            <ac:spMk id="74" creationId="{8EAE5F9B-2627-671F-AB05-ABE2D6EB9C7D}"/>
          </ac:spMkLst>
        </pc:spChg>
        <pc:spChg chg="add mod topLvl">
          <ac:chgData name="Jiang, Nancy" userId="2e38f130-956d-425b-8d6b-1b76a544cfdd" providerId="ADAL" clId="{98A22A67-D799-4041-9A13-2C3ECEAC861D}" dt="2024-12-19T07:33:57.687" v="3741" actId="1036"/>
          <ac:spMkLst>
            <pc:docMk/>
            <pc:sldMk cId="2282914595" sldId="2147379893"/>
            <ac:spMk id="77" creationId="{2F5D2957-1E47-B4E2-99B0-7A90F0112977}"/>
          </ac:spMkLst>
        </pc:spChg>
        <pc:spChg chg="add mod">
          <ac:chgData name="Jiang, Nancy" userId="2e38f130-956d-425b-8d6b-1b76a544cfdd" providerId="ADAL" clId="{98A22A67-D799-4041-9A13-2C3ECEAC861D}" dt="2024-12-19T07:33:57.687" v="3741" actId="1036"/>
          <ac:spMkLst>
            <pc:docMk/>
            <pc:sldMk cId="2282914595" sldId="2147379893"/>
            <ac:spMk id="79" creationId="{A09E489A-1ABA-D58D-7A3C-CB0225ED0C06}"/>
          </ac:spMkLst>
        </pc:spChg>
        <pc:spChg chg="add mod">
          <ac:chgData name="Jiang, Nancy" userId="2e38f130-956d-425b-8d6b-1b76a544cfdd" providerId="ADAL" clId="{98A22A67-D799-4041-9A13-2C3ECEAC861D}" dt="2024-12-20T06:04:11.634" v="3780" actId="20577"/>
          <ac:spMkLst>
            <pc:docMk/>
            <pc:sldMk cId="2282914595" sldId="2147379893"/>
            <ac:spMk id="80" creationId="{DBDD7370-3C64-DF06-EDED-DC15CC1DEE5E}"/>
          </ac:spMkLst>
        </pc:spChg>
        <pc:spChg chg="add mod">
          <ac:chgData name="Jiang, Nancy" userId="2e38f130-956d-425b-8d6b-1b76a544cfdd" providerId="ADAL" clId="{98A22A67-D799-4041-9A13-2C3ECEAC861D}" dt="2024-12-20T06:04:06.771" v="3779" actId="20577"/>
          <ac:spMkLst>
            <pc:docMk/>
            <pc:sldMk cId="2282914595" sldId="2147379893"/>
            <ac:spMk id="81" creationId="{CCCD683B-7601-767A-379D-EB832C1369AB}"/>
          </ac:spMkLst>
        </pc:spChg>
        <pc:spChg chg="add mod">
          <ac:chgData name="Jiang, Nancy" userId="2e38f130-956d-425b-8d6b-1b76a544cfdd" providerId="ADAL" clId="{98A22A67-D799-4041-9A13-2C3ECEAC861D}" dt="2024-12-19T07:33:57.687" v="3741" actId="1036"/>
          <ac:spMkLst>
            <pc:docMk/>
            <pc:sldMk cId="2282914595" sldId="2147379893"/>
            <ac:spMk id="82" creationId="{8054EE86-BF14-CB3C-5E34-A04919FE7AB3}"/>
          </ac:spMkLst>
        </pc:spChg>
        <pc:spChg chg="add mod">
          <ac:chgData name="Jiang, Nancy" userId="2e38f130-956d-425b-8d6b-1b76a544cfdd" providerId="ADAL" clId="{98A22A67-D799-4041-9A13-2C3ECEAC861D}" dt="2024-12-19T07:33:57.687" v="3741" actId="1036"/>
          <ac:spMkLst>
            <pc:docMk/>
            <pc:sldMk cId="2282914595" sldId="2147379893"/>
            <ac:spMk id="83" creationId="{DB0C1571-FB3A-CE52-4E94-9C7B563BF952}"/>
          </ac:spMkLst>
        </pc:spChg>
        <pc:spChg chg="add mod">
          <ac:chgData name="Jiang, Nancy" userId="2e38f130-956d-425b-8d6b-1b76a544cfdd" providerId="ADAL" clId="{98A22A67-D799-4041-9A13-2C3ECEAC861D}" dt="2024-12-19T07:17:42.122" v="3370" actId="1035"/>
          <ac:spMkLst>
            <pc:docMk/>
            <pc:sldMk cId="2282914595" sldId="2147379893"/>
            <ac:spMk id="84" creationId="{A5B6A930-BEB9-1CAB-C597-955F9C895776}"/>
          </ac:spMkLst>
        </pc:spChg>
        <pc:spChg chg="add del mod">
          <ac:chgData name="Jiang, Nancy" userId="2e38f130-956d-425b-8d6b-1b76a544cfdd" providerId="ADAL" clId="{98A22A67-D799-4041-9A13-2C3ECEAC861D}" dt="2024-12-19T07:17:10.185" v="3363" actId="478"/>
          <ac:spMkLst>
            <pc:docMk/>
            <pc:sldMk cId="2282914595" sldId="2147379893"/>
            <ac:spMk id="85" creationId="{6197D420-ABA6-5C8D-84DB-9A253F7D43CC}"/>
          </ac:spMkLst>
        </pc:spChg>
        <pc:spChg chg="add mod">
          <ac:chgData name="Jiang, Nancy" userId="2e38f130-956d-425b-8d6b-1b76a544cfdd" providerId="ADAL" clId="{98A22A67-D799-4041-9A13-2C3ECEAC861D}" dt="2024-12-19T07:18:08.463" v="3371" actId="1035"/>
          <ac:spMkLst>
            <pc:docMk/>
            <pc:sldMk cId="2282914595" sldId="2147379893"/>
            <ac:spMk id="86" creationId="{96BFD598-2F0E-2ED7-8584-572F4590D494}"/>
          </ac:spMkLst>
        </pc:spChg>
        <pc:spChg chg="add mod">
          <ac:chgData name="Jiang, Nancy" userId="2e38f130-956d-425b-8d6b-1b76a544cfdd" providerId="ADAL" clId="{98A22A67-D799-4041-9A13-2C3ECEAC861D}" dt="2024-12-19T07:19:45.932" v="3394" actId="12789"/>
          <ac:spMkLst>
            <pc:docMk/>
            <pc:sldMk cId="2282914595" sldId="2147379893"/>
            <ac:spMk id="87" creationId="{A538DC32-B1FF-5A55-EDEC-672E93413BD4}"/>
          </ac:spMkLst>
        </pc:spChg>
        <pc:spChg chg="add mod">
          <ac:chgData name="Jiang, Nancy" userId="2e38f130-956d-425b-8d6b-1b76a544cfdd" providerId="ADAL" clId="{98A22A67-D799-4041-9A13-2C3ECEAC861D}" dt="2024-12-20T06:04:37.482" v="3789" actId="20577"/>
          <ac:spMkLst>
            <pc:docMk/>
            <pc:sldMk cId="2282914595" sldId="2147379893"/>
            <ac:spMk id="88" creationId="{EA4D7065-DD45-D2D8-8688-D45B6E73E601}"/>
          </ac:spMkLst>
        </pc:spChg>
        <pc:spChg chg="add del mod">
          <ac:chgData name="Jiang, Nancy" userId="2e38f130-956d-425b-8d6b-1b76a544cfdd" providerId="ADAL" clId="{98A22A67-D799-4041-9A13-2C3ECEAC861D}" dt="2024-12-19T07:19:25.899" v="3390" actId="478"/>
          <ac:spMkLst>
            <pc:docMk/>
            <pc:sldMk cId="2282914595" sldId="2147379893"/>
            <ac:spMk id="89" creationId="{F20CFF95-8546-76E2-2AC8-21DA69AEC328}"/>
          </ac:spMkLst>
        </pc:spChg>
        <pc:spChg chg="add del mod">
          <ac:chgData name="Jiang, Nancy" userId="2e38f130-956d-425b-8d6b-1b76a544cfdd" providerId="ADAL" clId="{98A22A67-D799-4041-9A13-2C3ECEAC861D}" dt="2024-12-19T07:19:28.056" v="3391" actId="478"/>
          <ac:spMkLst>
            <pc:docMk/>
            <pc:sldMk cId="2282914595" sldId="2147379893"/>
            <ac:spMk id="91" creationId="{2C627580-CBB7-95B7-2BA8-0419BDDE9CEB}"/>
          </ac:spMkLst>
        </pc:spChg>
        <pc:spChg chg="add mod">
          <ac:chgData name="Jiang, Nancy" userId="2e38f130-956d-425b-8d6b-1b76a544cfdd" providerId="ADAL" clId="{98A22A67-D799-4041-9A13-2C3ECEAC861D}" dt="2024-12-19T07:24:30.623" v="3415" actId="1038"/>
          <ac:spMkLst>
            <pc:docMk/>
            <pc:sldMk cId="2282914595" sldId="2147379893"/>
            <ac:spMk id="92" creationId="{8519F412-1B4E-8F80-1984-55D20BCDC2D3}"/>
          </ac:spMkLst>
        </pc:spChg>
        <pc:spChg chg="add mod">
          <ac:chgData name="Jiang, Nancy" userId="2e38f130-956d-425b-8d6b-1b76a544cfdd" providerId="ADAL" clId="{98A22A67-D799-4041-9A13-2C3ECEAC861D}" dt="2024-12-19T07:24:30.623" v="3415" actId="1038"/>
          <ac:spMkLst>
            <pc:docMk/>
            <pc:sldMk cId="2282914595" sldId="2147379893"/>
            <ac:spMk id="94" creationId="{D808AE6C-763D-C147-FBBC-3D7FC7CB2D6D}"/>
          </ac:spMkLst>
        </pc:spChg>
        <pc:spChg chg="add mod">
          <ac:chgData name="Jiang, Nancy" userId="2e38f130-956d-425b-8d6b-1b76a544cfdd" providerId="ADAL" clId="{98A22A67-D799-4041-9A13-2C3ECEAC861D}" dt="2024-12-19T07:24:30.623" v="3415" actId="1038"/>
          <ac:spMkLst>
            <pc:docMk/>
            <pc:sldMk cId="2282914595" sldId="2147379893"/>
            <ac:spMk id="95" creationId="{9A15ACA7-5926-15CA-0241-44E327AD4F53}"/>
          </ac:spMkLst>
        </pc:spChg>
        <pc:spChg chg="add mod">
          <ac:chgData name="Jiang, Nancy" userId="2e38f130-956d-425b-8d6b-1b76a544cfdd" providerId="ADAL" clId="{98A22A67-D799-4041-9A13-2C3ECEAC861D}" dt="2024-12-19T07:18:48.812" v="3376" actId="20577"/>
          <ac:spMkLst>
            <pc:docMk/>
            <pc:sldMk cId="2282914595" sldId="2147379893"/>
            <ac:spMk id="100" creationId="{243AE5AE-D723-3DD9-8854-88D9A1DDDD51}"/>
          </ac:spMkLst>
        </pc:spChg>
        <pc:spChg chg="add mod">
          <ac:chgData name="Jiang, Nancy" userId="2e38f130-956d-425b-8d6b-1b76a544cfdd" providerId="ADAL" clId="{98A22A67-D799-4041-9A13-2C3ECEAC861D}" dt="2024-12-19T07:19:06.134" v="3386" actId="1035"/>
          <ac:spMkLst>
            <pc:docMk/>
            <pc:sldMk cId="2282914595" sldId="2147379893"/>
            <ac:spMk id="101" creationId="{B38AC20D-F90C-9390-95C3-0220E5A713E7}"/>
          </ac:spMkLst>
        </pc:spChg>
        <pc:spChg chg="add mod">
          <ac:chgData name="Jiang, Nancy" userId="2e38f130-956d-425b-8d6b-1b76a544cfdd" providerId="ADAL" clId="{98A22A67-D799-4041-9A13-2C3ECEAC861D}" dt="2024-12-19T07:27:59.466" v="3494" actId="207"/>
          <ac:spMkLst>
            <pc:docMk/>
            <pc:sldMk cId="2282914595" sldId="2147379893"/>
            <ac:spMk id="102" creationId="{2A2299CD-92F6-4D63-0B03-580F3B873707}"/>
          </ac:spMkLst>
        </pc:spChg>
        <pc:spChg chg="add mod">
          <ac:chgData name="Jiang, Nancy" userId="2e38f130-956d-425b-8d6b-1b76a544cfdd" providerId="ADAL" clId="{98A22A67-D799-4041-9A13-2C3ECEAC861D}" dt="2024-12-17T08:25:13.555" v="745" actId="1076"/>
          <ac:spMkLst>
            <pc:docMk/>
            <pc:sldMk cId="2282914595" sldId="2147379893"/>
            <ac:spMk id="113" creationId="{3F9C556E-5E1D-5B27-9E3F-1855E57412E1}"/>
          </ac:spMkLst>
        </pc:spChg>
        <pc:spChg chg="add mod">
          <ac:chgData name="Jiang, Nancy" userId="2e38f130-956d-425b-8d6b-1b76a544cfdd" providerId="ADAL" clId="{98A22A67-D799-4041-9A13-2C3ECEAC861D}" dt="2024-12-17T08:25:13.555" v="745" actId="1076"/>
          <ac:spMkLst>
            <pc:docMk/>
            <pc:sldMk cId="2282914595" sldId="2147379893"/>
            <ac:spMk id="114" creationId="{D7EF3894-770D-4725-583B-3551EDD4DFF0}"/>
          </ac:spMkLst>
        </pc:spChg>
        <pc:spChg chg="add mod">
          <ac:chgData name="Jiang, Nancy" userId="2e38f130-956d-425b-8d6b-1b76a544cfdd" providerId="ADAL" clId="{98A22A67-D799-4041-9A13-2C3ECEAC861D}" dt="2024-12-17T08:25:13.555" v="745" actId="1076"/>
          <ac:spMkLst>
            <pc:docMk/>
            <pc:sldMk cId="2282914595" sldId="2147379893"/>
            <ac:spMk id="115" creationId="{130A493B-85C1-A66C-E5AC-28AB16EC896C}"/>
          </ac:spMkLst>
        </pc:spChg>
        <pc:spChg chg="add mod">
          <ac:chgData name="Jiang, Nancy" userId="2e38f130-956d-425b-8d6b-1b76a544cfdd" providerId="ADAL" clId="{98A22A67-D799-4041-9A13-2C3ECEAC861D}" dt="2024-12-17T08:25:13.555" v="745" actId="1076"/>
          <ac:spMkLst>
            <pc:docMk/>
            <pc:sldMk cId="2282914595" sldId="2147379893"/>
            <ac:spMk id="116" creationId="{1F4DEA26-27CE-0001-1DA5-CAF6CF65A4E9}"/>
          </ac:spMkLst>
        </pc:spChg>
        <pc:spChg chg="add mod">
          <ac:chgData name="Jiang, Nancy" userId="2e38f130-956d-425b-8d6b-1b76a544cfdd" providerId="ADAL" clId="{98A22A67-D799-4041-9A13-2C3ECEAC861D}" dt="2024-12-17T08:25:13.555" v="745" actId="1076"/>
          <ac:spMkLst>
            <pc:docMk/>
            <pc:sldMk cId="2282914595" sldId="2147379893"/>
            <ac:spMk id="117" creationId="{94197333-8336-A5B9-5772-68428D768363}"/>
          </ac:spMkLst>
        </pc:spChg>
        <pc:spChg chg="add mod">
          <ac:chgData name="Jiang, Nancy" userId="2e38f130-956d-425b-8d6b-1b76a544cfdd" providerId="ADAL" clId="{98A22A67-D799-4041-9A13-2C3ECEAC861D}" dt="2024-12-17T08:25:13.555" v="745" actId="1076"/>
          <ac:spMkLst>
            <pc:docMk/>
            <pc:sldMk cId="2282914595" sldId="2147379893"/>
            <ac:spMk id="118" creationId="{E578E9C0-4B34-ADB2-4B91-50173A5F4E09}"/>
          </ac:spMkLst>
        </pc:spChg>
        <pc:spChg chg="add mod">
          <ac:chgData name="Jiang, Nancy" userId="2e38f130-956d-425b-8d6b-1b76a544cfdd" providerId="ADAL" clId="{98A22A67-D799-4041-9A13-2C3ECEAC861D}" dt="2024-12-17T08:25:13.555" v="745" actId="1076"/>
          <ac:spMkLst>
            <pc:docMk/>
            <pc:sldMk cId="2282914595" sldId="2147379893"/>
            <ac:spMk id="120" creationId="{C5A0D3C0-8E33-024D-ED29-4315ADDB963A}"/>
          </ac:spMkLst>
        </pc:spChg>
        <pc:grpChg chg="add del mod topLvl">
          <ac:chgData name="Jiang, Nancy" userId="2e38f130-956d-425b-8d6b-1b76a544cfdd" providerId="ADAL" clId="{98A22A67-D799-4041-9A13-2C3ECEAC861D}" dt="2024-12-19T03:42:54.206" v="2346" actId="165"/>
          <ac:grpSpMkLst>
            <pc:docMk/>
            <pc:sldMk cId="2282914595" sldId="2147379893"/>
            <ac:grpSpMk id="2" creationId="{D8C3DA26-4309-9EDB-483D-B7258820B282}"/>
          </ac:grpSpMkLst>
        </pc:grpChg>
        <pc:grpChg chg="add del mod topLvl">
          <ac:chgData name="Jiang, Nancy" userId="2e38f130-956d-425b-8d6b-1b76a544cfdd" providerId="ADAL" clId="{98A22A67-D799-4041-9A13-2C3ECEAC861D}" dt="2024-12-19T03:42:49.142" v="2345" actId="165"/>
          <ac:grpSpMkLst>
            <pc:docMk/>
            <pc:sldMk cId="2282914595" sldId="2147379893"/>
            <ac:grpSpMk id="17" creationId="{499E1712-6480-4DE4-9DBB-A4AB52DD295A}"/>
          </ac:grpSpMkLst>
        </pc:grpChg>
        <pc:grpChg chg="add del mod">
          <ac:chgData name="Jiang, Nancy" userId="2e38f130-956d-425b-8d6b-1b76a544cfdd" providerId="ADAL" clId="{98A22A67-D799-4041-9A13-2C3ECEAC861D}" dt="2024-12-19T03:42:43.131" v="2344" actId="165"/>
          <ac:grpSpMkLst>
            <pc:docMk/>
            <pc:sldMk cId="2282914595" sldId="2147379893"/>
            <ac:grpSpMk id="25" creationId="{6B6785D9-7B82-4CF6-05FA-A8BF46275B4B}"/>
          </ac:grpSpMkLst>
        </pc:grpChg>
        <pc:grpChg chg="add del mod">
          <ac:chgData name="Jiang, Nancy" userId="2e38f130-956d-425b-8d6b-1b76a544cfdd" providerId="ADAL" clId="{98A22A67-D799-4041-9A13-2C3ECEAC861D}" dt="2024-12-17T08:30:12.708" v="746" actId="478"/>
          <ac:grpSpMkLst>
            <pc:docMk/>
            <pc:sldMk cId="2282914595" sldId="2147379893"/>
            <ac:grpSpMk id="125" creationId="{955984FC-4281-578D-7B75-0573A693BFF0}"/>
          </ac:grpSpMkLst>
        </pc:grpChg>
        <pc:graphicFrameChg chg="add del mod modGraphic">
          <ac:chgData name="Jiang, Nancy" userId="2e38f130-956d-425b-8d6b-1b76a544cfdd" providerId="ADAL" clId="{98A22A67-D799-4041-9A13-2C3ECEAC861D}" dt="2024-12-19T05:48:43.937" v="2663" actId="478"/>
          <ac:graphicFrameMkLst>
            <pc:docMk/>
            <pc:sldMk cId="2282914595" sldId="2147379893"/>
            <ac:graphicFrameMk id="42" creationId="{842B605F-7551-411E-2A02-36907482EBCA}"/>
          </ac:graphicFrameMkLst>
        </pc:graphicFrameChg>
        <pc:graphicFrameChg chg="add del mod">
          <ac:chgData name="Jiang, Nancy" userId="2e38f130-956d-425b-8d6b-1b76a544cfdd" providerId="ADAL" clId="{98A22A67-D799-4041-9A13-2C3ECEAC861D}" dt="2024-12-19T05:48:53.801" v="2665"/>
          <ac:graphicFrameMkLst>
            <pc:docMk/>
            <pc:sldMk cId="2282914595" sldId="2147379893"/>
            <ac:graphicFrameMk id="43" creationId="{A4EE4BEB-EDEE-84AC-A8F2-E80CD52D72FB}"/>
          </ac:graphicFrameMkLst>
        </pc:graphicFrameChg>
        <pc:graphicFrameChg chg="add del mod modGraphic">
          <ac:chgData name="Jiang, Nancy" userId="2e38f130-956d-425b-8d6b-1b76a544cfdd" providerId="ADAL" clId="{98A22A67-D799-4041-9A13-2C3ECEAC861D}" dt="2024-12-19T07:10:36.154" v="3234" actId="478"/>
          <ac:graphicFrameMkLst>
            <pc:docMk/>
            <pc:sldMk cId="2282914595" sldId="2147379893"/>
            <ac:graphicFrameMk id="44" creationId="{40850C1B-9E7C-CCBB-58E1-57715472E4D1}"/>
          </ac:graphicFrameMkLst>
        </pc:graphicFrameChg>
        <pc:graphicFrameChg chg="add del mod modGraphic">
          <ac:chgData name="Jiang, Nancy" userId="2e38f130-956d-425b-8d6b-1b76a544cfdd" providerId="ADAL" clId="{98A22A67-D799-4041-9A13-2C3ECEAC861D}" dt="2024-12-19T07:10:37.624" v="3235" actId="478"/>
          <ac:graphicFrameMkLst>
            <pc:docMk/>
            <pc:sldMk cId="2282914595" sldId="2147379893"/>
            <ac:graphicFrameMk id="45" creationId="{2533F070-61E1-20AB-8809-306CEB2F3844}"/>
          </ac:graphicFrameMkLst>
        </pc:graphicFrameChg>
        <pc:picChg chg="add del mod">
          <ac:chgData name="Jiang, Nancy" userId="2e38f130-956d-425b-8d6b-1b76a544cfdd" providerId="ADAL" clId="{98A22A67-D799-4041-9A13-2C3ECEAC861D}" dt="2024-12-17T06:15:04.636" v="103" actId="478"/>
          <ac:picMkLst>
            <pc:docMk/>
            <pc:sldMk cId="2282914595" sldId="2147379893"/>
            <ac:picMk id="8" creationId="{916B54B9-E612-6F2C-8263-BADE1736ACBC}"/>
          </ac:picMkLst>
        </pc:picChg>
        <pc:picChg chg="add del mod topLvl">
          <ac:chgData name="Jiang, Nancy" userId="2e38f130-956d-425b-8d6b-1b76a544cfdd" providerId="ADAL" clId="{98A22A67-D799-4041-9A13-2C3ECEAC861D}" dt="2024-12-19T07:33:57.687" v="3741" actId="1036"/>
          <ac:picMkLst>
            <pc:docMk/>
            <pc:sldMk cId="2282914595" sldId="2147379893"/>
            <ac:picMk id="9" creationId="{96806093-10FA-DA33-9E4E-DB0C0C300CD1}"/>
          </ac:picMkLst>
        </pc:picChg>
        <pc:picChg chg="add del mod">
          <ac:chgData name="Jiang, Nancy" userId="2e38f130-956d-425b-8d6b-1b76a544cfdd" providerId="ADAL" clId="{98A22A67-D799-4041-9A13-2C3ECEAC861D}" dt="2024-12-17T07:38:28.410" v="280" actId="478"/>
          <ac:picMkLst>
            <pc:docMk/>
            <pc:sldMk cId="2282914595" sldId="2147379893"/>
            <ac:picMk id="10" creationId="{E1F94D11-A9D8-932A-309A-8BC662F8F459}"/>
          </ac:picMkLst>
        </pc:picChg>
        <pc:picChg chg="add mod topLvl">
          <ac:chgData name="Jiang, Nancy" userId="2e38f130-956d-425b-8d6b-1b76a544cfdd" providerId="ADAL" clId="{98A22A67-D799-4041-9A13-2C3ECEAC861D}" dt="2024-12-19T07:33:57.687" v="3741" actId="1036"/>
          <ac:picMkLst>
            <pc:docMk/>
            <pc:sldMk cId="2282914595" sldId="2147379893"/>
            <ac:picMk id="12" creationId="{11CBA036-DE14-78E6-B34F-ED028D11AEDE}"/>
          </ac:picMkLst>
        </pc:picChg>
        <pc:picChg chg="add mod topLvl">
          <ac:chgData name="Jiang, Nancy" userId="2e38f130-956d-425b-8d6b-1b76a544cfdd" providerId="ADAL" clId="{98A22A67-D799-4041-9A13-2C3ECEAC861D}" dt="2024-12-19T07:33:57.687" v="3741" actId="1036"/>
          <ac:picMkLst>
            <pc:docMk/>
            <pc:sldMk cId="2282914595" sldId="2147379893"/>
            <ac:picMk id="13" creationId="{64775965-D505-1ECD-C01A-0333E69729BE}"/>
          </ac:picMkLst>
        </pc:picChg>
        <pc:picChg chg="add mod topLvl">
          <ac:chgData name="Jiang, Nancy" userId="2e38f130-956d-425b-8d6b-1b76a544cfdd" providerId="ADAL" clId="{98A22A67-D799-4041-9A13-2C3ECEAC861D}" dt="2024-12-19T07:33:57.687" v="3741" actId="1036"/>
          <ac:picMkLst>
            <pc:docMk/>
            <pc:sldMk cId="2282914595" sldId="2147379893"/>
            <ac:picMk id="14" creationId="{B3E3D8F7-C1AC-5787-FD38-A28ED5E7BE29}"/>
          </ac:picMkLst>
        </pc:picChg>
        <pc:picChg chg="add del mod topLvl">
          <ac:chgData name="Jiang, Nancy" userId="2e38f130-956d-425b-8d6b-1b76a544cfdd" providerId="ADAL" clId="{98A22A67-D799-4041-9A13-2C3ECEAC861D}" dt="2024-12-19T06:17:06.406" v="2917" actId="478"/>
          <ac:picMkLst>
            <pc:docMk/>
            <pc:sldMk cId="2282914595" sldId="2147379893"/>
            <ac:picMk id="15" creationId="{54CBCEFF-AF4F-B6C6-63A6-A17BA9726809}"/>
          </ac:picMkLst>
        </pc:picChg>
        <pc:picChg chg="add del mod">
          <ac:chgData name="Jiang, Nancy" userId="2e38f130-956d-425b-8d6b-1b76a544cfdd" providerId="ADAL" clId="{98A22A67-D799-4041-9A13-2C3ECEAC861D}" dt="2024-12-17T07:38:35.396" v="282" actId="478"/>
          <ac:picMkLst>
            <pc:docMk/>
            <pc:sldMk cId="2282914595" sldId="2147379893"/>
            <ac:picMk id="15" creationId="{80AF3404-43C7-1362-3D2F-156F83E9CA5A}"/>
          </ac:picMkLst>
        </pc:picChg>
        <pc:picChg chg="add mod topLvl">
          <ac:chgData name="Jiang, Nancy" userId="2e38f130-956d-425b-8d6b-1b76a544cfdd" providerId="ADAL" clId="{98A22A67-D799-4041-9A13-2C3ECEAC861D}" dt="2024-12-19T07:33:57.687" v="3741" actId="1036"/>
          <ac:picMkLst>
            <pc:docMk/>
            <pc:sldMk cId="2282914595" sldId="2147379893"/>
            <ac:picMk id="16" creationId="{ECF5B72E-9AE4-720D-4BAE-4A17DFC617E1}"/>
          </ac:picMkLst>
        </pc:picChg>
        <pc:picChg chg="add del mod">
          <ac:chgData name="Jiang, Nancy" userId="2e38f130-956d-425b-8d6b-1b76a544cfdd" providerId="ADAL" clId="{98A22A67-D799-4041-9A13-2C3ECEAC861D}" dt="2024-12-17T07:24:21.388" v="110" actId="478"/>
          <ac:picMkLst>
            <pc:docMk/>
            <pc:sldMk cId="2282914595" sldId="2147379893"/>
            <ac:picMk id="45" creationId="{47FF659C-E53C-1DD5-08E2-366456FD8A62}"/>
          </ac:picMkLst>
        </pc:picChg>
        <pc:picChg chg="add del mod">
          <ac:chgData name="Jiang, Nancy" userId="2e38f130-956d-425b-8d6b-1b76a544cfdd" providerId="ADAL" clId="{98A22A67-D799-4041-9A13-2C3ECEAC861D}" dt="2024-12-17T08:04:07.593" v="569" actId="478"/>
          <ac:picMkLst>
            <pc:docMk/>
            <pc:sldMk cId="2282914595" sldId="2147379893"/>
            <ac:picMk id="50" creationId="{F80C33CB-3FD3-79AA-2F61-E97C178A49EB}"/>
          </ac:picMkLst>
        </pc:picChg>
        <pc:picChg chg="add mod">
          <ac:chgData name="Jiang, Nancy" userId="2e38f130-956d-425b-8d6b-1b76a544cfdd" providerId="ADAL" clId="{98A22A67-D799-4041-9A13-2C3ECEAC861D}" dt="2024-12-19T07:33:57.687" v="3741" actId="1036"/>
          <ac:picMkLst>
            <pc:docMk/>
            <pc:sldMk cId="2282914595" sldId="2147379893"/>
            <ac:picMk id="53" creationId="{A2A82FF0-A367-AD1D-5381-A6917671E9EC}"/>
          </ac:picMkLst>
        </pc:picChg>
        <pc:picChg chg="add del mod">
          <ac:chgData name="Jiang, Nancy" userId="2e38f130-956d-425b-8d6b-1b76a544cfdd" providerId="ADAL" clId="{98A22A67-D799-4041-9A13-2C3ECEAC861D}" dt="2024-12-17T07:28:56.098" v="143" actId="478"/>
          <ac:picMkLst>
            <pc:docMk/>
            <pc:sldMk cId="2282914595" sldId="2147379893"/>
            <ac:picMk id="54" creationId="{C3C0A1C3-24B9-4FE9-6E5B-523BF1516C75}"/>
          </ac:picMkLst>
        </pc:picChg>
        <pc:picChg chg="add mod">
          <ac:chgData name="Jiang, Nancy" userId="2e38f130-956d-425b-8d6b-1b76a544cfdd" providerId="ADAL" clId="{98A22A67-D799-4041-9A13-2C3ECEAC861D}" dt="2024-12-19T07:33:57.687" v="3741" actId="1036"/>
          <ac:picMkLst>
            <pc:docMk/>
            <pc:sldMk cId="2282914595" sldId="2147379893"/>
            <ac:picMk id="59" creationId="{90AB9851-BB01-7C30-52C2-38F035C097C6}"/>
          </ac:picMkLst>
        </pc:picChg>
        <pc:picChg chg="add mod topLvl">
          <ac:chgData name="Jiang, Nancy" userId="2e38f130-956d-425b-8d6b-1b76a544cfdd" providerId="ADAL" clId="{98A22A67-D799-4041-9A13-2C3ECEAC861D}" dt="2024-12-19T07:33:57.687" v="3741" actId="1036"/>
          <ac:picMkLst>
            <pc:docMk/>
            <pc:sldMk cId="2282914595" sldId="2147379893"/>
            <ac:picMk id="61" creationId="{BA5C1084-5B23-76E5-0036-AFAD8290E56E}"/>
          </ac:picMkLst>
        </pc:picChg>
        <pc:picChg chg="add mod topLvl">
          <ac:chgData name="Jiang, Nancy" userId="2e38f130-956d-425b-8d6b-1b76a544cfdd" providerId="ADAL" clId="{98A22A67-D799-4041-9A13-2C3ECEAC861D}" dt="2024-12-19T07:33:57.687" v="3741" actId="1036"/>
          <ac:picMkLst>
            <pc:docMk/>
            <pc:sldMk cId="2282914595" sldId="2147379893"/>
            <ac:picMk id="76" creationId="{724DB762-6CBF-E33B-FFFD-89ECD9C563ED}"/>
          </ac:picMkLst>
        </pc:picChg>
        <pc:picChg chg="add del mod topLvl">
          <ac:chgData name="Jiang, Nancy" userId="2e38f130-956d-425b-8d6b-1b76a544cfdd" providerId="ADAL" clId="{98A22A67-D799-4041-9A13-2C3ECEAC861D}" dt="2024-12-19T05:14:54.402" v="2424" actId="478"/>
          <ac:picMkLst>
            <pc:docMk/>
            <pc:sldMk cId="2282914595" sldId="2147379893"/>
            <ac:picMk id="96" creationId="{BBD11489-3F56-97F5-2B90-E66B6D99EC28}"/>
          </ac:picMkLst>
        </pc:picChg>
        <pc:picChg chg="add del mod topLvl">
          <ac:chgData name="Jiang, Nancy" userId="2e38f130-956d-425b-8d6b-1b76a544cfdd" providerId="ADAL" clId="{98A22A67-D799-4041-9A13-2C3ECEAC861D}" dt="2024-12-19T03:44:48.616" v="2382" actId="478"/>
          <ac:picMkLst>
            <pc:docMk/>
            <pc:sldMk cId="2282914595" sldId="2147379893"/>
            <ac:picMk id="97" creationId="{0974D753-57DC-9074-774F-E6AE65A0B31D}"/>
          </ac:picMkLst>
        </pc:picChg>
        <pc:picChg chg="add del mod topLvl">
          <ac:chgData name="Jiang, Nancy" userId="2e38f130-956d-425b-8d6b-1b76a544cfdd" providerId="ADAL" clId="{98A22A67-D799-4041-9A13-2C3ECEAC861D}" dt="2024-12-19T03:44:18.275" v="2374" actId="478"/>
          <ac:picMkLst>
            <pc:docMk/>
            <pc:sldMk cId="2282914595" sldId="2147379893"/>
            <ac:picMk id="98" creationId="{620E0298-54CE-1282-5716-9871BDB430A5}"/>
          </ac:picMkLst>
        </pc:picChg>
        <pc:picChg chg="add del mod topLvl">
          <ac:chgData name="Jiang, Nancy" userId="2e38f130-956d-425b-8d6b-1b76a544cfdd" providerId="ADAL" clId="{98A22A67-D799-4041-9A13-2C3ECEAC861D}" dt="2024-12-19T03:43:01.109" v="2347" actId="478"/>
          <ac:picMkLst>
            <pc:docMk/>
            <pc:sldMk cId="2282914595" sldId="2147379893"/>
            <ac:picMk id="99" creationId="{FB26BAE1-2F7F-1613-1A1D-6E3302B9DC7A}"/>
          </ac:picMkLst>
        </pc:picChg>
        <pc:picChg chg="add mod">
          <ac:chgData name="Jiang, Nancy" userId="2e38f130-956d-425b-8d6b-1b76a544cfdd" providerId="ADAL" clId="{98A22A67-D799-4041-9A13-2C3ECEAC861D}" dt="2024-12-17T08:25:13.555" v="745" actId="1076"/>
          <ac:picMkLst>
            <pc:docMk/>
            <pc:sldMk cId="2282914595" sldId="2147379893"/>
            <ac:picMk id="100" creationId="{0214F933-2025-5FA1-9833-0BC83B708FB5}"/>
          </ac:picMkLst>
        </pc:picChg>
        <pc:picChg chg="add mod">
          <ac:chgData name="Jiang, Nancy" userId="2e38f130-956d-425b-8d6b-1b76a544cfdd" providerId="ADAL" clId="{98A22A67-D799-4041-9A13-2C3ECEAC861D}" dt="2024-12-17T08:25:13.555" v="745" actId="1076"/>
          <ac:picMkLst>
            <pc:docMk/>
            <pc:sldMk cId="2282914595" sldId="2147379893"/>
            <ac:picMk id="101" creationId="{2D1A6D1C-AE23-A60A-8144-1CEE63525F07}"/>
          </ac:picMkLst>
        </pc:picChg>
        <pc:picChg chg="add mod">
          <ac:chgData name="Jiang, Nancy" userId="2e38f130-956d-425b-8d6b-1b76a544cfdd" providerId="ADAL" clId="{98A22A67-D799-4041-9A13-2C3ECEAC861D}" dt="2024-12-17T08:25:13.555" v="745" actId="1076"/>
          <ac:picMkLst>
            <pc:docMk/>
            <pc:sldMk cId="2282914595" sldId="2147379893"/>
            <ac:picMk id="102" creationId="{8A2BFE8D-2EAE-491F-94D7-898A997E64D3}"/>
          </ac:picMkLst>
        </pc:picChg>
        <pc:picChg chg="add mod">
          <ac:chgData name="Jiang, Nancy" userId="2e38f130-956d-425b-8d6b-1b76a544cfdd" providerId="ADAL" clId="{98A22A67-D799-4041-9A13-2C3ECEAC861D}" dt="2024-12-17T08:25:13.555" v="745" actId="1076"/>
          <ac:picMkLst>
            <pc:docMk/>
            <pc:sldMk cId="2282914595" sldId="2147379893"/>
            <ac:picMk id="103" creationId="{51E4AA9B-E1BD-521A-69E6-92D0743AD510}"/>
          </ac:picMkLst>
        </pc:picChg>
        <pc:picChg chg="add mod">
          <ac:chgData name="Jiang, Nancy" userId="2e38f130-956d-425b-8d6b-1b76a544cfdd" providerId="ADAL" clId="{98A22A67-D799-4041-9A13-2C3ECEAC861D}" dt="2024-12-17T08:25:13.555" v="745" actId="1076"/>
          <ac:picMkLst>
            <pc:docMk/>
            <pc:sldMk cId="2282914595" sldId="2147379893"/>
            <ac:picMk id="104" creationId="{1579B66D-91A2-22A4-653A-17E9154FD9A1}"/>
          </ac:picMkLst>
        </pc:picChg>
        <pc:picChg chg="add mod">
          <ac:chgData name="Jiang, Nancy" userId="2e38f130-956d-425b-8d6b-1b76a544cfdd" providerId="ADAL" clId="{98A22A67-D799-4041-9A13-2C3ECEAC861D}" dt="2024-12-17T08:25:13.555" v="745" actId="1076"/>
          <ac:picMkLst>
            <pc:docMk/>
            <pc:sldMk cId="2282914595" sldId="2147379893"/>
            <ac:picMk id="109" creationId="{1B01BE81-C35E-C22F-C4EF-377892D44989}"/>
          </ac:picMkLst>
        </pc:picChg>
        <pc:picChg chg="add mod">
          <ac:chgData name="Jiang, Nancy" userId="2e38f130-956d-425b-8d6b-1b76a544cfdd" providerId="ADAL" clId="{98A22A67-D799-4041-9A13-2C3ECEAC861D}" dt="2024-12-17T08:25:13.555" v="745" actId="1076"/>
          <ac:picMkLst>
            <pc:docMk/>
            <pc:sldMk cId="2282914595" sldId="2147379893"/>
            <ac:picMk id="112" creationId="{3BD884ED-D1A4-6D85-E2F2-7186FA4B14B0}"/>
          </ac:picMkLst>
        </pc:picChg>
        <pc:picChg chg="add mod">
          <ac:chgData name="Jiang, Nancy" userId="2e38f130-956d-425b-8d6b-1b76a544cfdd" providerId="ADAL" clId="{98A22A67-D799-4041-9A13-2C3ECEAC861D}" dt="2024-12-17T08:25:13.555" v="745" actId="1076"/>
          <ac:picMkLst>
            <pc:docMk/>
            <pc:sldMk cId="2282914595" sldId="2147379893"/>
            <ac:picMk id="119" creationId="{28225DA1-B686-0040-87C6-8A622B4A737D}"/>
          </ac:picMkLst>
        </pc:picChg>
        <pc:picChg chg="add mod">
          <ac:chgData name="Jiang, Nancy" userId="2e38f130-956d-425b-8d6b-1b76a544cfdd" providerId="ADAL" clId="{98A22A67-D799-4041-9A13-2C3ECEAC861D}" dt="2024-12-17T08:25:13.555" v="745" actId="1076"/>
          <ac:picMkLst>
            <pc:docMk/>
            <pc:sldMk cId="2282914595" sldId="2147379893"/>
            <ac:picMk id="122" creationId="{584963E8-4F55-2AB1-CBC0-37182E1AB9A1}"/>
          </ac:picMkLst>
        </pc:picChg>
        <pc:picChg chg="add mod">
          <ac:chgData name="Jiang, Nancy" userId="2e38f130-956d-425b-8d6b-1b76a544cfdd" providerId="ADAL" clId="{98A22A67-D799-4041-9A13-2C3ECEAC861D}" dt="2024-12-17T08:25:13.555" v="745" actId="1076"/>
          <ac:picMkLst>
            <pc:docMk/>
            <pc:sldMk cId="2282914595" sldId="2147379893"/>
            <ac:picMk id="123" creationId="{940169D3-6B7D-AC14-7AD6-122CACBBC7AB}"/>
          </ac:picMkLst>
        </pc:picChg>
        <pc:picChg chg="add mod">
          <ac:chgData name="Jiang, Nancy" userId="2e38f130-956d-425b-8d6b-1b76a544cfdd" providerId="ADAL" clId="{98A22A67-D799-4041-9A13-2C3ECEAC861D}" dt="2024-12-17T08:25:13.555" v="745" actId="1076"/>
          <ac:picMkLst>
            <pc:docMk/>
            <pc:sldMk cId="2282914595" sldId="2147379893"/>
            <ac:picMk id="124" creationId="{B8005817-0EC3-C7C6-94C4-466AAEA11107}"/>
          </ac:picMkLst>
        </pc:picChg>
        <pc:cxnChg chg="add del mod">
          <ac:chgData name="Jiang, Nancy" userId="2e38f130-956d-425b-8d6b-1b76a544cfdd" providerId="ADAL" clId="{98A22A67-D799-4041-9A13-2C3ECEAC861D}" dt="2024-12-17T06:11:28.992" v="65" actId="478"/>
          <ac:cxnSpMkLst>
            <pc:docMk/>
            <pc:sldMk cId="2282914595" sldId="2147379893"/>
            <ac:cxnSpMk id="18" creationId="{4D25E1FF-1BF4-10DD-7D5D-6E572F223D88}"/>
          </ac:cxnSpMkLst>
        </pc:cxnChg>
        <pc:cxnChg chg="add mod topLvl">
          <ac:chgData name="Jiang, Nancy" userId="2e38f130-956d-425b-8d6b-1b76a544cfdd" providerId="ADAL" clId="{98A22A67-D799-4041-9A13-2C3ECEAC861D}" dt="2024-12-19T07:33:57.687" v="3741" actId="1036"/>
          <ac:cxnSpMkLst>
            <pc:docMk/>
            <pc:sldMk cId="2282914595" sldId="2147379893"/>
            <ac:cxnSpMk id="20" creationId="{AC2D3152-4152-8F1F-685C-F743F313A19C}"/>
          </ac:cxnSpMkLst>
        </pc:cxnChg>
        <pc:cxnChg chg="add mod">
          <ac:chgData name="Jiang, Nancy" userId="2e38f130-956d-425b-8d6b-1b76a544cfdd" providerId="ADAL" clId="{98A22A67-D799-4041-9A13-2C3ECEAC861D}" dt="2024-12-19T07:11:08.706" v="3241" actId="1035"/>
          <ac:cxnSpMkLst>
            <pc:docMk/>
            <pc:sldMk cId="2282914595" sldId="2147379893"/>
            <ac:cxnSpMk id="23" creationId="{C8251581-8BEA-5751-0A0F-314030EE1CA0}"/>
          </ac:cxnSpMkLst>
        </pc:cxnChg>
        <pc:cxnChg chg="add del mod">
          <ac:chgData name="Jiang, Nancy" userId="2e38f130-956d-425b-8d6b-1b76a544cfdd" providerId="ADAL" clId="{98A22A67-D799-4041-9A13-2C3ECEAC861D}" dt="2024-12-17T06:12:36.298" v="72" actId="478"/>
          <ac:cxnSpMkLst>
            <pc:docMk/>
            <pc:sldMk cId="2282914595" sldId="2147379893"/>
            <ac:cxnSpMk id="24" creationId="{C47E2652-3FA4-6870-ACAD-AA400D0F6DEC}"/>
          </ac:cxnSpMkLst>
        </pc:cxnChg>
        <pc:cxnChg chg="add del mod">
          <ac:chgData name="Jiang, Nancy" userId="2e38f130-956d-425b-8d6b-1b76a544cfdd" providerId="ADAL" clId="{98A22A67-D799-4041-9A13-2C3ECEAC861D}" dt="2024-12-17T08:04:10.374" v="570" actId="478"/>
          <ac:cxnSpMkLst>
            <pc:docMk/>
            <pc:sldMk cId="2282914595" sldId="2147379893"/>
            <ac:cxnSpMk id="25" creationId="{DD6B472B-F126-1F25-435B-4B774EC88D2D}"/>
          </ac:cxnSpMkLst>
        </pc:cxnChg>
        <pc:cxnChg chg="add mod">
          <ac:chgData name="Jiang, Nancy" userId="2e38f130-956d-425b-8d6b-1b76a544cfdd" providerId="ADAL" clId="{98A22A67-D799-4041-9A13-2C3ECEAC861D}" dt="2024-12-19T07:11:08.706" v="3241" actId="1035"/>
          <ac:cxnSpMkLst>
            <pc:docMk/>
            <pc:sldMk cId="2282914595" sldId="2147379893"/>
            <ac:cxnSpMk id="26" creationId="{17D694E6-19FC-7760-D239-FE90F14770A9}"/>
          </ac:cxnSpMkLst>
        </pc:cxnChg>
        <pc:cxnChg chg="add mod topLvl">
          <ac:chgData name="Jiang, Nancy" userId="2e38f130-956d-425b-8d6b-1b76a544cfdd" providerId="ADAL" clId="{98A22A67-D799-4041-9A13-2C3ECEAC861D}" dt="2024-12-19T07:33:57.687" v="3741" actId="1036"/>
          <ac:cxnSpMkLst>
            <pc:docMk/>
            <pc:sldMk cId="2282914595" sldId="2147379893"/>
            <ac:cxnSpMk id="28" creationId="{0967E347-2CE0-137F-7192-56AEDCFDF814}"/>
          </ac:cxnSpMkLst>
        </pc:cxnChg>
        <pc:cxnChg chg="add del mod">
          <ac:chgData name="Jiang, Nancy" userId="2e38f130-956d-425b-8d6b-1b76a544cfdd" providerId="ADAL" clId="{98A22A67-D799-4041-9A13-2C3ECEAC861D}" dt="2024-12-17T06:13:23.089" v="90" actId="478"/>
          <ac:cxnSpMkLst>
            <pc:docMk/>
            <pc:sldMk cId="2282914595" sldId="2147379893"/>
            <ac:cxnSpMk id="32" creationId="{77A92B1C-711A-7A2B-3F39-EFEFC201A0BB}"/>
          </ac:cxnSpMkLst>
        </pc:cxnChg>
        <pc:cxnChg chg="add mod topLvl">
          <ac:chgData name="Jiang, Nancy" userId="2e38f130-956d-425b-8d6b-1b76a544cfdd" providerId="ADAL" clId="{98A22A67-D799-4041-9A13-2C3ECEAC861D}" dt="2024-12-19T07:33:57.687" v="3741" actId="1036"/>
          <ac:cxnSpMkLst>
            <pc:docMk/>
            <pc:sldMk cId="2282914595" sldId="2147379893"/>
            <ac:cxnSpMk id="33" creationId="{BCC77066-16CF-3C65-ECAD-72D5F15BA51F}"/>
          </ac:cxnSpMkLst>
        </pc:cxnChg>
        <pc:cxnChg chg="add del mod">
          <ac:chgData name="Jiang, Nancy" userId="2e38f130-956d-425b-8d6b-1b76a544cfdd" providerId="ADAL" clId="{98A22A67-D799-4041-9A13-2C3ECEAC861D}" dt="2024-12-17T07:38:27.423" v="279" actId="478"/>
          <ac:cxnSpMkLst>
            <pc:docMk/>
            <pc:sldMk cId="2282914595" sldId="2147379893"/>
            <ac:cxnSpMk id="36" creationId="{EC22F19D-32F5-AD9D-E0C7-44BF8F47BB79}"/>
          </ac:cxnSpMkLst>
        </pc:cxnChg>
        <pc:cxnChg chg="add del mod">
          <ac:chgData name="Jiang, Nancy" userId="2e38f130-956d-425b-8d6b-1b76a544cfdd" providerId="ADAL" clId="{98A22A67-D799-4041-9A13-2C3ECEAC861D}" dt="2024-12-17T07:38:34.644" v="281" actId="478"/>
          <ac:cxnSpMkLst>
            <pc:docMk/>
            <pc:sldMk cId="2282914595" sldId="2147379893"/>
            <ac:cxnSpMk id="39" creationId="{B99C313B-B0D8-729D-CB29-7EE2F3164567}"/>
          </ac:cxnSpMkLst>
        </pc:cxnChg>
        <pc:cxnChg chg="add del mod">
          <ac:chgData name="Jiang, Nancy" userId="2e38f130-956d-425b-8d6b-1b76a544cfdd" providerId="ADAL" clId="{98A22A67-D799-4041-9A13-2C3ECEAC861D}" dt="2024-12-17T07:24:36.128" v="113" actId="478"/>
          <ac:cxnSpMkLst>
            <pc:docMk/>
            <pc:sldMk cId="2282914595" sldId="2147379893"/>
            <ac:cxnSpMk id="42" creationId="{02E96CC9-5714-0305-7C59-9CE4987AC1CD}"/>
          </ac:cxnSpMkLst>
        </pc:cxnChg>
        <pc:cxnChg chg="add del mod">
          <ac:chgData name="Jiang, Nancy" userId="2e38f130-956d-425b-8d6b-1b76a544cfdd" providerId="ADAL" clId="{98A22A67-D799-4041-9A13-2C3ECEAC861D}" dt="2024-12-19T06:13:43.382" v="2906" actId="478"/>
          <ac:cxnSpMkLst>
            <pc:docMk/>
            <pc:sldMk cId="2282914595" sldId="2147379893"/>
            <ac:cxnSpMk id="48" creationId="{DE995EE8-40FC-265A-6C9E-DF2EBB69A2F5}"/>
          </ac:cxnSpMkLst>
        </pc:cxnChg>
        <pc:cxnChg chg="add mod">
          <ac:chgData name="Jiang, Nancy" userId="2e38f130-956d-425b-8d6b-1b76a544cfdd" providerId="ADAL" clId="{98A22A67-D799-4041-9A13-2C3ECEAC861D}" dt="2024-12-19T07:33:57.687" v="3741" actId="1036"/>
          <ac:cxnSpMkLst>
            <pc:docMk/>
            <pc:sldMk cId="2282914595" sldId="2147379893"/>
            <ac:cxnSpMk id="49" creationId="{7C713EBE-68A5-57BC-6946-F277E30F2C2A}"/>
          </ac:cxnSpMkLst>
        </pc:cxnChg>
        <pc:cxnChg chg="add del mod">
          <ac:chgData name="Jiang, Nancy" userId="2e38f130-956d-425b-8d6b-1b76a544cfdd" providerId="ADAL" clId="{98A22A67-D799-4041-9A13-2C3ECEAC861D}" dt="2024-12-17T08:02:58.236" v="539" actId="478"/>
          <ac:cxnSpMkLst>
            <pc:docMk/>
            <pc:sldMk cId="2282914595" sldId="2147379893"/>
            <ac:cxnSpMk id="56" creationId="{AC5B3F84-5859-4A36-4C21-233FB7507DEE}"/>
          </ac:cxnSpMkLst>
        </pc:cxnChg>
        <pc:cxnChg chg="add mod topLvl">
          <ac:chgData name="Jiang, Nancy" userId="2e38f130-956d-425b-8d6b-1b76a544cfdd" providerId="ADAL" clId="{98A22A67-D799-4041-9A13-2C3ECEAC861D}" dt="2024-12-19T07:33:57.687" v="3741" actId="1036"/>
          <ac:cxnSpMkLst>
            <pc:docMk/>
            <pc:sldMk cId="2282914595" sldId="2147379893"/>
            <ac:cxnSpMk id="57" creationId="{95B990C1-0758-8EAE-1867-4D285E368E21}"/>
          </ac:cxnSpMkLst>
        </pc:cxnChg>
        <pc:cxnChg chg="add mod">
          <ac:chgData name="Jiang, Nancy" userId="2e38f130-956d-425b-8d6b-1b76a544cfdd" providerId="ADAL" clId="{98A22A67-D799-4041-9A13-2C3ECEAC861D}" dt="2024-12-19T07:33:57.687" v="3741" actId="1036"/>
          <ac:cxnSpMkLst>
            <pc:docMk/>
            <pc:sldMk cId="2282914595" sldId="2147379893"/>
            <ac:cxnSpMk id="62" creationId="{488E78C6-D963-E383-3321-89A0720089A1}"/>
          </ac:cxnSpMkLst>
        </pc:cxnChg>
        <pc:cxnChg chg="add mod">
          <ac:chgData name="Jiang, Nancy" userId="2e38f130-956d-425b-8d6b-1b76a544cfdd" providerId="ADAL" clId="{98A22A67-D799-4041-9A13-2C3ECEAC861D}" dt="2024-12-19T07:33:57.687" v="3741" actId="1036"/>
          <ac:cxnSpMkLst>
            <pc:docMk/>
            <pc:sldMk cId="2282914595" sldId="2147379893"/>
            <ac:cxnSpMk id="65" creationId="{210E256D-88A7-D812-8888-2712026E4284}"/>
          </ac:cxnSpMkLst>
        </pc:cxnChg>
        <pc:cxnChg chg="add mod">
          <ac:chgData name="Jiang, Nancy" userId="2e38f130-956d-425b-8d6b-1b76a544cfdd" providerId="ADAL" clId="{98A22A67-D799-4041-9A13-2C3ECEAC861D}" dt="2024-12-19T07:33:57.687" v="3741" actId="1036"/>
          <ac:cxnSpMkLst>
            <pc:docMk/>
            <pc:sldMk cId="2282914595" sldId="2147379893"/>
            <ac:cxnSpMk id="73" creationId="{2FDB0174-4C74-9699-7ED1-70EEEC8970C5}"/>
          </ac:cxnSpMkLst>
        </pc:cxnChg>
        <pc:cxnChg chg="add del mod">
          <ac:chgData name="Jiang, Nancy" userId="2e38f130-956d-425b-8d6b-1b76a544cfdd" providerId="ADAL" clId="{98A22A67-D799-4041-9A13-2C3ECEAC861D}" dt="2024-12-17T08:06:16.451" v="623" actId="478"/>
          <ac:cxnSpMkLst>
            <pc:docMk/>
            <pc:sldMk cId="2282914595" sldId="2147379893"/>
            <ac:cxnSpMk id="78" creationId="{84007E70-1A3B-251E-0F56-30514EDC92B0}"/>
          </ac:cxnSpMkLst>
        </pc:cxnChg>
        <pc:cxnChg chg="add del mod">
          <ac:chgData name="Jiang, Nancy" userId="2e38f130-956d-425b-8d6b-1b76a544cfdd" providerId="ADAL" clId="{98A22A67-D799-4041-9A13-2C3ECEAC861D}" dt="2024-12-17T08:06:24.227" v="625" actId="478"/>
          <ac:cxnSpMkLst>
            <pc:docMk/>
            <pc:sldMk cId="2282914595" sldId="2147379893"/>
            <ac:cxnSpMk id="89" creationId="{36CFF22F-BCDD-DC29-9677-67EE8E135929}"/>
          </ac:cxnSpMkLst>
        </pc:cxnChg>
        <pc:cxnChg chg="add mod topLvl">
          <ac:chgData name="Jiang, Nancy" userId="2e38f130-956d-425b-8d6b-1b76a544cfdd" providerId="ADAL" clId="{98A22A67-D799-4041-9A13-2C3ECEAC861D}" dt="2024-12-19T07:33:57.687" v="3741" actId="1036"/>
          <ac:cxnSpMkLst>
            <pc:docMk/>
            <pc:sldMk cId="2282914595" sldId="2147379893"/>
            <ac:cxnSpMk id="90" creationId="{E00BA1C0-55CC-571D-996D-A669F21A4EE8}"/>
          </ac:cxnSpMkLst>
        </pc:cxnChg>
        <pc:cxnChg chg="add mod topLvl">
          <ac:chgData name="Jiang, Nancy" userId="2e38f130-956d-425b-8d6b-1b76a544cfdd" providerId="ADAL" clId="{98A22A67-D799-4041-9A13-2C3ECEAC861D}" dt="2024-12-19T07:33:57.687" v="3741" actId="1036"/>
          <ac:cxnSpMkLst>
            <pc:docMk/>
            <pc:sldMk cId="2282914595" sldId="2147379893"/>
            <ac:cxnSpMk id="93" creationId="{902FDDD7-9F61-7FD3-D4FC-CFD183B1A3E0}"/>
          </ac:cxnSpMkLst>
        </pc:cxnChg>
        <pc:cxnChg chg="add mod">
          <ac:chgData name="Jiang, Nancy" userId="2e38f130-956d-425b-8d6b-1b76a544cfdd" providerId="ADAL" clId="{98A22A67-D799-4041-9A13-2C3ECEAC861D}" dt="2024-12-17T08:25:13.555" v="745" actId="1076"/>
          <ac:cxnSpMkLst>
            <pc:docMk/>
            <pc:sldMk cId="2282914595" sldId="2147379893"/>
            <ac:cxnSpMk id="105" creationId="{9B13F19E-065C-6DC4-D9D1-18DCB5A48573}"/>
          </ac:cxnSpMkLst>
        </pc:cxnChg>
        <pc:cxnChg chg="add mod">
          <ac:chgData name="Jiang, Nancy" userId="2e38f130-956d-425b-8d6b-1b76a544cfdd" providerId="ADAL" clId="{98A22A67-D799-4041-9A13-2C3ECEAC861D}" dt="2024-12-17T08:25:13.555" v="745" actId="1076"/>
          <ac:cxnSpMkLst>
            <pc:docMk/>
            <pc:sldMk cId="2282914595" sldId="2147379893"/>
            <ac:cxnSpMk id="106" creationId="{B3385875-7061-CDE8-A192-8BBF4AF32086}"/>
          </ac:cxnSpMkLst>
        </pc:cxnChg>
        <pc:cxnChg chg="add mod">
          <ac:chgData name="Jiang, Nancy" userId="2e38f130-956d-425b-8d6b-1b76a544cfdd" providerId="ADAL" clId="{98A22A67-D799-4041-9A13-2C3ECEAC861D}" dt="2024-12-17T08:25:13.555" v="745" actId="1076"/>
          <ac:cxnSpMkLst>
            <pc:docMk/>
            <pc:sldMk cId="2282914595" sldId="2147379893"/>
            <ac:cxnSpMk id="107" creationId="{032CC544-B939-4267-5622-E2E0A320ABB1}"/>
          </ac:cxnSpMkLst>
        </pc:cxnChg>
        <pc:cxnChg chg="add mod">
          <ac:chgData name="Jiang, Nancy" userId="2e38f130-956d-425b-8d6b-1b76a544cfdd" providerId="ADAL" clId="{98A22A67-D799-4041-9A13-2C3ECEAC861D}" dt="2024-12-17T08:25:13.555" v="745" actId="1076"/>
          <ac:cxnSpMkLst>
            <pc:docMk/>
            <pc:sldMk cId="2282914595" sldId="2147379893"/>
            <ac:cxnSpMk id="108" creationId="{ECA3556A-7AC6-953A-5F64-AF0D8B9674B8}"/>
          </ac:cxnSpMkLst>
        </pc:cxnChg>
        <pc:cxnChg chg="add mod">
          <ac:chgData name="Jiang, Nancy" userId="2e38f130-956d-425b-8d6b-1b76a544cfdd" providerId="ADAL" clId="{98A22A67-D799-4041-9A13-2C3ECEAC861D}" dt="2024-12-17T08:25:13.555" v="745" actId="1076"/>
          <ac:cxnSpMkLst>
            <pc:docMk/>
            <pc:sldMk cId="2282914595" sldId="2147379893"/>
            <ac:cxnSpMk id="110" creationId="{95D749B9-9041-59FB-DEB4-FF6447CAA4F1}"/>
          </ac:cxnSpMkLst>
        </pc:cxnChg>
        <pc:cxnChg chg="add mod">
          <ac:chgData name="Jiang, Nancy" userId="2e38f130-956d-425b-8d6b-1b76a544cfdd" providerId="ADAL" clId="{98A22A67-D799-4041-9A13-2C3ECEAC861D}" dt="2024-12-17T08:25:13.555" v="745" actId="1076"/>
          <ac:cxnSpMkLst>
            <pc:docMk/>
            <pc:sldMk cId="2282914595" sldId="2147379893"/>
            <ac:cxnSpMk id="111" creationId="{488BE489-47E5-2A71-2314-9051A1300928}"/>
          </ac:cxnSpMkLst>
        </pc:cxnChg>
        <pc:cxnChg chg="add mod">
          <ac:chgData name="Jiang, Nancy" userId="2e38f130-956d-425b-8d6b-1b76a544cfdd" providerId="ADAL" clId="{98A22A67-D799-4041-9A13-2C3ECEAC861D}" dt="2024-12-17T08:25:13.555" v="745" actId="1076"/>
          <ac:cxnSpMkLst>
            <pc:docMk/>
            <pc:sldMk cId="2282914595" sldId="2147379893"/>
            <ac:cxnSpMk id="121" creationId="{5295954B-FCEF-FC18-0150-D726B11D0E4D}"/>
          </ac:cxnSpMkLst>
        </pc:cxnChg>
      </pc:sldChg>
      <pc:sldChg chg="addSp delSp modSp new mod ord">
        <pc:chgData name="Jiang, Nancy" userId="2e38f130-956d-425b-8d6b-1b76a544cfdd" providerId="ADAL" clId="{98A22A67-D799-4041-9A13-2C3ECEAC861D}" dt="2024-12-18T10:27:45.320" v="1370"/>
        <pc:sldMkLst>
          <pc:docMk/>
          <pc:sldMk cId="3636961238" sldId="2147379894"/>
        </pc:sldMkLst>
        <pc:spChg chg="del">
          <ac:chgData name="Jiang, Nancy" userId="2e38f130-956d-425b-8d6b-1b76a544cfdd" providerId="ADAL" clId="{98A22A67-D799-4041-9A13-2C3ECEAC861D}" dt="2024-12-17T07:57:00.807" v="393" actId="478"/>
          <ac:spMkLst>
            <pc:docMk/>
            <pc:sldMk cId="3636961238" sldId="2147379894"/>
            <ac:spMk id="2" creationId="{119F152D-1DA6-56F2-F43A-BCA3FF99AE2F}"/>
          </ac:spMkLst>
        </pc:spChg>
        <pc:spChg chg="del">
          <ac:chgData name="Jiang, Nancy" userId="2e38f130-956d-425b-8d6b-1b76a544cfdd" providerId="ADAL" clId="{98A22A67-D799-4041-9A13-2C3ECEAC861D}" dt="2024-12-17T07:55:26.022" v="384" actId="478"/>
          <ac:spMkLst>
            <pc:docMk/>
            <pc:sldMk cId="3636961238" sldId="2147379894"/>
            <ac:spMk id="4" creationId="{1C93EE65-25DF-112A-D57C-D7F8C98B46BF}"/>
          </ac:spMkLst>
        </pc:spChg>
        <pc:spChg chg="add mod">
          <ac:chgData name="Jiang, Nancy" userId="2e38f130-956d-425b-8d6b-1b76a544cfdd" providerId="ADAL" clId="{98A22A67-D799-4041-9A13-2C3ECEAC861D}" dt="2024-12-18T01:40:36.927" v="973" actId="1076"/>
          <ac:spMkLst>
            <pc:docMk/>
            <pc:sldMk cId="3636961238" sldId="2147379894"/>
            <ac:spMk id="4" creationId="{AB971165-351A-9862-4907-411A702A609B}"/>
          </ac:spMkLst>
        </pc:spChg>
        <pc:spChg chg="add mod">
          <ac:chgData name="Jiang, Nancy" userId="2e38f130-956d-425b-8d6b-1b76a544cfdd" providerId="ADAL" clId="{98A22A67-D799-4041-9A13-2C3ECEAC861D}" dt="2024-12-18T01:40:36.927" v="973" actId="1076"/>
          <ac:spMkLst>
            <pc:docMk/>
            <pc:sldMk cId="3636961238" sldId="2147379894"/>
            <ac:spMk id="18" creationId="{41E6307E-BBFE-8EFE-7893-CF2D0E11755C}"/>
          </ac:spMkLst>
        </pc:spChg>
        <pc:spChg chg="add del mod">
          <ac:chgData name="Jiang, Nancy" userId="2e38f130-956d-425b-8d6b-1b76a544cfdd" providerId="ADAL" clId="{98A22A67-D799-4041-9A13-2C3ECEAC861D}" dt="2024-12-17T07:56:24.624" v="387" actId="478"/>
          <ac:spMkLst>
            <pc:docMk/>
            <pc:sldMk cId="3636961238" sldId="2147379894"/>
            <ac:spMk id="19" creationId="{2B4D0397-4F8E-9FC1-090A-6F725A2E251E}"/>
          </ac:spMkLst>
        </pc:spChg>
        <pc:spChg chg="add mod">
          <ac:chgData name="Jiang, Nancy" userId="2e38f130-956d-425b-8d6b-1b76a544cfdd" providerId="ADAL" clId="{98A22A67-D799-4041-9A13-2C3ECEAC861D}" dt="2024-12-18T01:46:35.610" v="1118" actId="20577"/>
          <ac:spMkLst>
            <pc:docMk/>
            <pc:sldMk cId="3636961238" sldId="2147379894"/>
            <ac:spMk id="19" creationId="{DB9FBEE4-382F-DB3E-42BB-C9658EC2C938}"/>
          </ac:spMkLst>
        </pc:spChg>
        <pc:spChg chg="add mod">
          <ac:chgData name="Jiang, Nancy" userId="2e38f130-956d-425b-8d6b-1b76a544cfdd" providerId="ADAL" clId="{98A22A67-D799-4041-9A13-2C3ECEAC861D}" dt="2024-12-18T01:40:36.927" v="973" actId="1076"/>
          <ac:spMkLst>
            <pc:docMk/>
            <pc:sldMk cId="3636961238" sldId="2147379894"/>
            <ac:spMk id="20" creationId="{BDE5FE4F-1762-87EE-C37C-4B2C08121943}"/>
          </ac:spMkLst>
        </pc:spChg>
        <pc:spChg chg="add mod">
          <ac:chgData name="Jiang, Nancy" userId="2e38f130-956d-425b-8d6b-1b76a544cfdd" providerId="ADAL" clId="{98A22A67-D799-4041-9A13-2C3ECEAC861D}" dt="2024-12-18T01:40:36.927" v="973" actId="1076"/>
          <ac:spMkLst>
            <pc:docMk/>
            <pc:sldMk cId="3636961238" sldId="2147379894"/>
            <ac:spMk id="21" creationId="{823C60EC-6AA8-C83E-26CD-DCF8EEF9A126}"/>
          </ac:spMkLst>
        </pc:spChg>
        <pc:spChg chg="add del mod">
          <ac:chgData name="Jiang, Nancy" userId="2e38f130-956d-425b-8d6b-1b76a544cfdd" providerId="ADAL" clId="{98A22A67-D799-4041-9A13-2C3ECEAC861D}" dt="2024-12-17T07:56:30.345" v="388" actId="478"/>
          <ac:spMkLst>
            <pc:docMk/>
            <pc:sldMk cId="3636961238" sldId="2147379894"/>
            <ac:spMk id="22" creationId="{FA037827-201F-404D-9CA4-8750F5D2B8E5}"/>
          </ac:spMkLst>
        </pc:spChg>
        <pc:spChg chg="add mod">
          <ac:chgData name="Jiang, Nancy" userId="2e38f130-956d-425b-8d6b-1b76a544cfdd" providerId="ADAL" clId="{98A22A67-D799-4041-9A13-2C3ECEAC861D}" dt="2024-12-18T01:40:36.927" v="973" actId="1076"/>
          <ac:spMkLst>
            <pc:docMk/>
            <pc:sldMk cId="3636961238" sldId="2147379894"/>
            <ac:spMk id="23" creationId="{2D225397-9EAD-A3AD-A93B-F9ECE0A448D2}"/>
          </ac:spMkLst>
        </pc:spChg>
        <pc:spChg chg="add mod">
          <ac:chgData name="Jiang, Nancy" userId="2e38f130-956d-425b-8d6b-1b76a544cfdd" providerId="ADAL" clId="{98A22A67-D799-4041-9A13-2C3ECEAC861D}" dt="2024-12-18T01:40:36.927" v="973" actId="1076"/>
          <ac:spMkLst>
            <pc:docMk/>
            <pc:sldMk cId="3636961238" sldId="2147379894"/>
            <ac:spMk id="24" creationId="{2F52B1D6-1DE5-67BB-127D-6B18FB7DA0EA}"/>
          </ac:spMkLst>
        </pc:spChg>
        <pc:spChg chg="add mod">
          <ac:chgData name="Jiang, Nancy" userId="2e38f130-956d-425b-8d6b-1b76a544cfdd" providerId="ADAL" clId="{98A22A67-D799-4041-9A13-2C3ECEAC861D}" dt="2024-12-18T01:40:36.927" v="973" actId="1076"/>
          <ac:spMkLst>
            <pc:docMk/>
            <pc:sldMk cId="3636961238" sldId="2147379894"/>
            <ac:spMk id="25" creationId="{5DA610D1-12BD-9237-09F2-1E6231FD45E7}"/>
          </ac:spMkLst>
        </pc:spChg>
        <pc:spChg chg="add mod">
          <ac:chgData name="Jiang, Nancy" userId="2e38f130-956d-425b-8d6b-1b76a544cfdd" providerId="ADAL" clId="{98A22A67-D799-4041-9A13-2C3ECEAC861D}" dt="2024-12-18T01:40:36.927" v="973" actId="1076"/>
          <ac:spMkLst>
            <pc:docMk/>
            <pc:sldMk cId="3636961238" sldId="2147379894"/>
            <ac:spMk id="27" creationId="{AA3C7E0A-2AA5-1A8E-9511-CA242BF2FAFD}"/>
          </ac:spMkLst>
        </pc:spChg>
        <pc:spChg chg="add del mod">
          <ac:chgData name="Jiang, Nancy" userId="2e38f130-956d-425b-8d6b-1b76a544cfdd" providerId="ADAL" clId="{98A22A67-D799-4041-9A13-2C3ECEAC861D}" dt="2024-12-17T08:16:32.583" v="740" actId="478"/>
          <ac:spMkLst>
            <pc:docMk/>
            <pc:sldMk cId="3636961238" sldId="2147379894"/>
            <ac:spMk id="29" creationId="{61C4B42B-75C4-0F24-582A-A00F7B18DB33}"/>
          </ac:spMkLst>
        </pc:spChg>
        <pc:spChg chg="add mod">
          <ac:chgData name="Jiang, Nancy" userId="2e38f130-956d-425b-8d6b-1b76a544cfdd" providerId="ADAL" clId="{98A22A67-D799-4041-9A13-2C3ECEAC861D}" dt="2024-12-18T10:27:42.998" v="1368" actId="164"/>
          <ac:spMkLst>
            <pc:docMk/>
            <pc:sldMk cId="3636961238" sldId="2147379894"/>
            <ac:spMk id="30" creationId="{FD47589E-6ADD-769C-E60A-3B2752007658}"/>
          </ac:spMkLst>
        </pc:spChg>
        <pc:spChg chg="add mod">
          <ac:chgData name="Jiang, Nancy" userId="2e38f130-956d-425b-8d6b-1b76a544cfdd" providerId="ADAL" clId="{98A22A67-D799-4041-9A13-2C3ECEAC861D}" dt="2024-12-18T10:27:42.998" v="1368" actId="164"/>
          <ac:spMkLst>
            <pc:docMk/>
            <pc:sldMk cId="3636961238" sldId="2147379894"/>
            <ac:spMk id="31" creationId="{9DD63BBD-48AD-22BD-F7B0-B4D38A2449C0}"/>
          </ac:spMkLst>
        </pc:spChg>
        <pc:spChg chg="add mod">
          <ac:chgData name="Jiang, Nancy" userId="2e38f130-956d-425b-8d6b-1b76a544cfdd" providerId="ADAL" clId="{98A22A67-D799-4041-9A13-2C3ECEAC861D}" dt="2024-12-18T10:27:42.998" v="1368" actId="164"/>
          <ac:spMkLst>
            <pc:docMk/>
            <pc:sldMk cId="3636961238" sldId="2147379894"/>
            <ac:spMk id="32" creationId="{AC26BA8E-5018-827C-E036-963170EB706F}"/>
          </ac:spMkLst>
        </pc:spChg>
        <pc:spChg chg="add mod">
          <ac:chgData name="Jiang, Nancy" userId="2e38f130-956d-425b-8d6b-1b76a544cfdd" providerId="ADAL" clId="{98A22A67-D799-4041-9A13-2C3ECEAC861D}" dt="2024-12-17T08:39:01.847" v="773" actId="20577"/>
          <ac:spMkLst>
            <pc:docMk/>
            <pc:sldMk cId="3636961238" sldId="2147379894"/>
            <ac:spMk id="36" creationId="{D1F32E39-8F67-4200-C097-A3D35E66BDB1}"/>
          </ac:spMkLst>
        </pc:spChg>
        <pc:spChg chg="add mod">
          <ac:chgData name="Jiang, Nancy" userId="2e38f130-956d-425b-8d6b-1b76a544cfdd" providerId="ADAL" clId="{98A22A67-D799-4041-9A13-2C3ECEAC861D}" dt="2024-12-18T10:27:42.998" v="1368" actId="164"/>
          <ac:spMkLst>
            <pc:docMk/>
            <pc:sldMk cId="3636961238" sldId="2147379894"/>
            <ac:spMk id="37" creationId="{7AEFBACF-97E3-4440-B161-18D718EBD760}"/>
          </ac:spMkLst>
        </pc:spChg>
        <pc:spChg chg="mod">
          <ac:chgData name="Jiang, Nancy" userId="2e38f130-956d-425b-8d6b-1b76a544cfdd" providerId="ADAL" clId="{98A22A67-D799-4041-9A13-2C3ECEAC861D}" dt="2024-12-18T10:27:44.083" v="1369"/>
          <ac:spMkLst>
            <pc:docMk/>
            <pc:sldMk cId="3636961238" sldId="2147379894"/>
            <ac:spMk id="41" creationId="{82E6077F-B98D-2044-E4B8-B77177BA50FB}"/>
          </ac:spMkLst>
        </pc:spChg>
        <pc:spChg chg="mod">
          <ac:chgData name="Jiang, Nancy" userId="2e38f130-956d-425b-8d6b-1b76a544cfdd" providerId="ADAL" clId="{98A22A67-D799-4041-9A13-2C3ECEAC861D}" dt="2024-12-18T10:27:44.083" v="1369"/>
          <ac:spMkLst>
            <pc:docMk/>
            <pc:sldMk cId="3636961238" sldId="2147379894"/>
            <ac:spMk id="42" creationId="{3CDDD282-F324-68A9-8655-D8F81751773D}"/>
          </ac:spMkLst>
        </pc:spChg>
        <pc:spChg chg="mod">
          <ac:chgData name="Jiang, Nancy" userId="2e38f130-956d-425b-8d6b-1b76a544cfdd" providerId="ADAL" clId="{98A22A67-D799-4041-9A13-2C3ECEAC861D}" dt="2024-12-18T10:27:44.083" v="1369"/>
          <ac:spMkLst>
            <pc:docMk/>
            <pc:sldMk cId="3636961238" sldId="2147379894"/>
            <ac:spMk id="43" creationId="{6A3B8655-7F22-8068-D1A0-E9C71B772B95}"/>
          </ac:spMkLst>
        </pc:spChg>
        <pc:spChg chg="mod">
          <ac:chgData name="Jiang, Nancy" userId="2e38f130-956d-425b-8d6b-1b76a544cfdd" providerId="ADAL" clId="{98A22A67-D799-4041-9A13-2C3ECEAC861D}" dt="2024-12-18T10:27:44.083" v="1369"/>
          <ac:spMkLst>
            <pc:docMk/>
            <pc:sldMk cId="3636961238" sldId="2147379894"/>
            <ac:spMk id="44" creationId="{0A9DE016-B5FE-98E2-4D16-33EF98DD5DC3}"/>
          </ac:spMkLst>
        </pc:spChg>
        <pc:spChg chg="mod">
          <ac:chgData name="Jiang, Nancy" userId="2e38f130-956d-425b-8d6b-1b76a544cfdd" providerId="ADAL" clId="{98A22A67-D799-4041-9A13-2C3ECEAC861D}" dt="2024-12-18T10:27:44.083" v="1369"/>
          <ac:spMkLst>
            <pc:docMk/>
            <pc:sldMk cId="3636961238" sldId="2147379894"/>
            <ac:spMk id="56" creationId="{369EB601-BB54-8CF9-3087-2F2DB81FA994}"/>
          </ac:spMkLst>
        </pc:spChg>
        <pc:spChg chg="mod">
          <ac:chgData name="Jiang, Nancy" userId="2e38f130-956d-425b-8d6b-1b76a544cfdd" providerId="ADAL" clId="{98A22A67-D799-4041-9A13-2C3ECEAC861D}" dt="2024-12-18T10:27:44.083" v="1369"/>
          <ac:spMkLst>
            <pc:docMk/>
            <pc:sldMk cId="3636961238" sldId="2147379894"/>
            <ac:spMk id="57" creationId="{633682C4-8D25-E8DC-3A71-678A93DAF0DD}"/>
          </ac:spMkLst>
        </pc:spChg>
        <pc:spChg chg="mod">
          <ac:chgData name="Jiang, Nancy" userId="2e38f130-956d-425b-8d6b-1b76a544cfdd" providerId="ADAL" clId="{98A22A67-D799-4041-9A13-2C3ECEAC861D}" dt="2024-12-18T10:27:44.083" v="1369"/>
          <ac:spMkLst>
            <pc:docMk/>
            <pc:sldMk cId="3636961238" sldId="2147379894"/>
            <ac:spMk id="58" creationId="{E5F18604-6536-7D2C-B419-C23330CB359C}"/>
          </ac:spMkLst>
        </pc:spChg>
        <pc:spChg chg="mod">
          <ac:chgData name="Jiang, Nancy" userId="2e38f130-956d-425b-8d6b-1b76a544cfdd" providerId="ADAL" clId="{98A22A67-D799-4041-9A13-2C3ECEAC861D}" dt="2024-12-18T10:27:44.083" v="1369"/>
          <ac:spMkLst>
            <pc:docMk/>
            <pc:sldMk cId="3636961238" sldId="2147379894"/>
            <ac:spMk id="59" creationId="{36F5F25C-84C6-DEEF-AD66-3150908954F9}"/>
          </ac:spMkLst>
        </pc:spChg>
        <pc:spChg chg="mod">
          <ac:chgData name="Jiang, Nancy" userId="2e38f130-956d-425b-8d6b-1b76a544cfdd" providerId="ADAL" clId="{98A22A67-D799-4041-9A13-2C3ECEAC861D}" dt="2024-12-18T10:27:44.083" v="1369"/>
          <ac:spMkLst>
            <pc:docMk/>
            <pc:sldMk cId="3636961238" sldId="2147379894"/>
            <ac:spMk id="60" creationId="{9F0DFA8D-35A4-E2BA-477C-0DFB475A7BDD}"/>
          </ac:spMkLst>
        </pc:spChg>
        <pc:spChg chg="mod">
          <ac:chgData name="Jiang, Nancy" userId="2e38f130-956d-425b-8d6b-1b76a544cfdd" providerId="ADAL" clId="{98A22A67-D799-4041-9A13-2C3ECEAC861D}" dt="2024-12-18T10:27:44.083" v="1369"/>
          <ac:spMkLst>
            <pc:docMk/>
            <pc:sldMk cId="3636961238" sldId="2147379894"/>
            <ac:spMk id="61" creationId="{3302F38D-5685-6186-0B03-4489FCA298B6}"/>
          </ac:spMkLst>
        </pc:spChg>
        <pc:spChg chg="mod">
          <ac:chgData name="Jiang, Nancy" userId="2e38f130-956d-425b-8d6b-1b76a544cfdd" providerId="ADAL" clId="{98A22A67-D799-4041-9A13-2C3ECEAC861D}" dt="2024-12-18T10:27:44.083" v="1369"/>
          <ac:spMkLst>
            <pc:docMk/>
            <pc:sldMk cId="3636961238" sldId="2147379894"/>
            <ac:spMk id="63" creationId="{EDD570FA-F828-15E8-D91D-562219310FA7}"/>
          </ac:spMkLst>
        </pc:spChg>
        <pc:grpChg chg="add mod">
          <ac:chgData name="Jiang, Nancy" userId="2e38f130-956d-425b-8d6b-1b76a544cfdd" providerId="ADAL" clId="{98A22A67-D799-4041-9A13-2C3ECEAC861D}" dt="2024-12-18T10:27:42.998" v="1368" actId="164"/>
          <ac:grpSpMkLst>
            <pc:docMk/>
            <pc:sldMk cId="3636961238" sldId="2147379894"/>
            <ac:grpSpMk id="2" creationId="{49050A8A-A16F-6A26-9526-440AE5B0844A}"/>
          </ac:grpSpMkLst>
        </pc:grpChg>
        <pc:grpChg chg="add mod">
          <ac:chgData name="Jiang, Nancy" userId="2e38f130-956d-425b-8d6b-1b76a544cfdd" providerId="ADAL" clId="{98A22A67-D799-4041-9A13-2C3ECEAC861D}" dt="2024-12-18T10:27:42.998" v="1368" actId="164"/>
          <ac:grpSpMkLst>
            <pc:docMk/>
            <pc:sldMk cId="3636961238" sldId="2147379894"/>
            <ac:grpSpMk id="38" creationId="{5099B6DC-C974-6241-C4F1-F3966042BFEC}"/>
          </ac:grpSpMkLst>
        </pc:grpChg>
        <pc:grpChg chg="add del mod">
          <ac:chgData name="Jiang, Nancy" userId="2e38f130-956d-425b-8d6b-1b76a544cfdd" providerId="ADAL" clId="{98A22A67-D799-4041-9A13-2C3ECEAC861D}" dt="2024-12-18T10:27:45.320" v="1370"/>
          <ac:grpSpMkLst>
            <pc:docMk/>
            <pc:sldMk cId="3636961238" sldId="2147379894"/>
            <ac:grpSpMk id="39" creationId="{33273A80-1747-D61E-0A29-707BC7042679}"/>
          </ac:grpSpMkLst>
        </pc:grpChg>
        <pc:grpChg chg="mod">
          <ac:chgData name="Jiang, Nancy" userId="2e38f130-956d-425b-8d6b-1b76a544cfdd" providerId="ADAL" clId="{98A22A67-D799-4041-9A13-2C3ECEAC861D}" dt="2024-12-18T10:27:44.083" v="1369"/>
          <ac:grpSpMkLst>
            <pc:docMk/>
            <pc:sldMk cId="3636961238" sldId="2147379894"/>
            <ac:grpSpMk id="40" creationId="{32954930-A68A-669B-DA86-3F6EE36EA385}"/>
          </ac:grpSpMkLst>
        </pc:grpChg>
        <pc:picChg chg="add mod">
          <ac:chgData name="Jiang, Nancy" userId="2e38f130-956d-425b-8d6b-1b76a544cfdd" providerId="ADAL" clId="{98A22A67-D799-4041-9A13-2C3ECEAC861D}" dt="2024-12-18T01:40:36.927" v="973" actId="1076"/>
          <ac:picMkLst>
            <pc:docMk/>
            <pc:sldMk cId="3636961238" sldId="2147379894"/>
            <ac:picMk id="5" creationId="{F4651949-6922-1C6E-1BFE-8D0AF9902157}"/>
          </ac:picMkLst>
        </pc:picChg>
        <pc:picChg chg="add mod">
          <ac:chgData name="Jiang, Nancy" userId="2e38f130-956d-425b-8d6b-1b76a544cfdd" providerId="ADAL" clId="{98A22A67-D799-4041-9A13-2C3ECEAC861D}" dt="2024-12-18T01:40:36.927" v="973" actId="1076"/>
          <ac:picMkLst>
            <pc:docMk/>
            <pc:sldMk cId="3636961238" sldId="2147379894"/>
            <ac:picMk id="6" creationId="{63BD6C8B-F02B-C64A-A2CE-C8DDCF9D6214}"/>
          </ac:picMkLst>
        </pc:picChg>
        <pc:picChg chg="add mod">
          <ac:chgData name="Jiang, Nancy" userId="2e38f130-956d-425b-8d6b-1b76a544cfdd" providerId="ADAL" clId="{98A22A67-D799-4041-9A13-2C3ECEAC861D}" dt="2024-12-18T01:40:36.927" v="973" actId="1076"/>
          <ac:picMkLst>
            <pc:docMk/>
            <pc:sldMk cId="3636961238" sldId="2147379894"/>
            <ac:picMk id="7" creationId="{40DD8503-5708-58A7-FBFE-C53BF61500B4}"/>
          </ac:picMkLst>
        </pc:picChg>
        <pc:picChg chg="add mod">
          <ac:chgData name="Jiang, Nancy" userId="2e38f130-956d-425b-8d6b-1b76a544cfdd" providerId="ADAL" clId="{98A22A67-D799-4041-9A13-2C3ECEAC861D}" dt="2024-12-18T01:40:36.927" v="973" actId="1076"/>
          <ac:picMkLst>
            <pc:docMk/>
            <pc:sldMk cId="3636961238" sldId="2147379894"/>
            <ac:picMk id="8" creationId="{2E925838-8051-B6D9-81A5-6D36C907C89B}"/>
          </ac:picMkLst>
        </pc:picChg>
        <pc:picChg chg="add mod">
          <ac:chgData name="Jiang, Nancy" userId="2e38f130-956d-425b-8d6b-1b76a544cfdd" providerId="ADAL" clId="{98A22A67-D799-4041-9A13-2C3ECEAC861D}" dt="2024-12-18T01:40:36.927" v="973" actId="1076"/>
          <ac:picMkLst>
            <pc:docMk/>
            <pc:sldMk cId="3636961238" sldId="2147379894"/>
            <ac:picMk id="9" creationId="{994AAB86-9811-B01E-2219-F65B314B7988}"/>
          </ac:picMkLst>
        </pc:picChg>
        <pc:picChg chg="add mod">
          <ac:chgData name="Jiang, Nancy" userId="2e38f130-956d-425b-8d6b-1b76a544cfdd" providerId="ADAL" clId="{98A22A67-D799-4041-9A13-2C3ECEAC861D}" dt="2024-12-18T01:40:36.927" v="973" actId="1076"/>
          <ac:picMkLst>
            <pc:docMk/>
            <pc:sldMk cId="3636961238" sldId="2147379894"/>
            <ac:picMk id="14" creationId="{318386E9-EC5F-CA74-21DC-F000C07C29CE}"/>
          </ac:picMkLst>
        </pc:picChg>
        <pc:picChg chg="add mod">
          <ac:chgData name="Jiang, Nancy" userId="2e38f130-956d-425b-8d6b-1b76a544cfdd" providerId="ADAL" clId="{98A22A67-D799-4041-9A13-2C3ECEAC861D}" dt="2024-12-18T01:40:36.927" v="973" actId="1076"/>
          <ac:picMkLst>
            <pc:docMk/>
            <pc:sldMk cId="3636961238" sldId="2147379894"/>
            <ac:picMk id="17" creationId="{12284B21-4BA7-4EA3-4F21-BECE8C5E2CB4}"/>
          </ac:picMkLst>
        </pc:picChg>
        <pc:picChg chg="add mod">
          <ac:chgData name="Jiang, Nancy" userId="2e38f130-956d-425b-8d6b-1b76a544cfdd" providerId="ADAL" clId="{98A22A67-D799-4041-9A13-2C3ECEAC861D}" dt="2024-12-18T10:27:42.998" v="1368" actId="164"/>
          <ac:picMkLst>
            <pc:docMk/>
            <pc:sldMk cId="3636961238" sldId="2147379894"/>
            <ac:picMk id="22" creationId="{9E8053E5-4731-D0F5-78D8-AF8570D96AD9}"/>
          </ac:picMkLst>
        </pc:picChg>
        <pc:picChg chg="add mod">
          <ac:chgData name="Jiang, Nancy" userId="2e38f130-956d-425b-8d6b-1b76a544cfdd" providerId="ADAL" clId="{98A22A67-D799-4041-9A13-2C3ECEAC861D}" dt="2024-12-18T01:40:36.927" v="973" actId="1076"/>
          <ac:picMkLst>
            <pc:docMk/>
            <pc:sldMk cId="3636961238" sldId="2147379894"/>
            <ac:picMk id="26" creationId="{98B67A4E-F982-229E-6EBC-050CACD6F2BE}"/>
          </ac:picMkLst>
        </pc:picChg>
        <pc:picChg chg="add mod">
          <ac:chgData name="Jiang, Nancy" userId="2e38f130-956d-425b-8d6b-1b76a544cfdd" providerId="ADAL" clId="{98A22A67-D799-4041-9A13-2C3ECEAC861D}" dt="2024-12-18T10:27:42.998" v="1368" actId="164"/>
          <ac:picMkLst>
            <pc:docMk/>
            <pc:sldMk cId="3636961238" sldId="2147379894"/>
            <ac:picMk id="29" creationId="{E97F0E0C-5BBE-E733-167D-BA3964BB56D7}"/>
          </ac:picMkLst>
        </pc:picChg>
        <pc:picChg chg="add mod">
          <ac:chgData name="Jiang, Nancy" userId="2e38f130-956d-425b-8d6b-1b76a544cfdd" providerId="ADAL" clId="{98A22A67-D799-4041-9A13-2C3ECEAC861D}" dt="2024-12-18T01:40:36.927" v="973" actId="1076"/>
          <ac:picMkLst>
            <pc:docMk/>
            <pc:sldMk cId="3636961238" sldId="2147379894"/>
            <ac:picMk id="33" creationId="{0BB9724B-1E6F-2337-E18E-84DCF710C172}"/>
          </ac:picMkLst>
        </pc:picChg>
        <pc:picChg chg="add mod">
          <ac:chgData name="Jiang, Nancy" userId="2e38f130-956d-425b-8d6b-1b76a544cfdd" providerId="ADAL" clId="{98A22A67-D799-4041-9A13-2C3ECEAC861D}" dt="2024-12-18T01:40:36.927" v="973" actId="1076"/>
          <ac:picMkLst>
            <pc:docMk/>
            <pc:sldMk cId="3636961238" sldId="2147379894"/>
            <ac:picMk id="34" creationId="{CC109F44-806C-3084-1189-934091435589}"/>
          </ac:picMkLst>
        </pc:picChg>
        <pc:picChg chg="add mod">
          <ac:chgData name="Jiang, Nancy" userId="2e38f130-956d-425b-8d6b-1b76a544cfdd" providerId="ADAL" clId="{98A22A67-D799-4041-9A13-2C3ECEAC861D}" dt="2024-12-18T01:40:36.927" v="973" actId="1076"/>
          <ac:picMkLst>
            <pc:docMk/>
            <pc:sldMk cId="3636961238" sldId="2147379894"/>
            <ac:picMk id="35" creationId="{736E1D60-D97B-FCDB-2EAE-AF10BD88555C}"/>
          </ac:picMkLst>
        </pc:picChg>
        <pc:picChg chg="mod">
          <ac:chgData name="Jiang, Nancy" userId="2e38f130-956d-425b-8d6b-1b76a544cfdd" providerId="ADAL" clId="{98A22A67-D799-4041-9A13-2C3ECEAC861D}" dt="2024-12-18T10:27:44.083" v="1369"/>
          <ac:picMkLst>
            <pc:docMk/>
            <pc:sldMk cId="3636961238" sldId="2147379894"/>
            <ac:picMk id="45" creationId="{0F55B00F-C569-7417-0D06-19F47A6F7DF5}"/>
          </ac:picMkLst>
        </pc:picChg>
        <pc:picChg chg="mod">
          <ac:chgData name="Jiang, Nancy" userId="2e38f130-956d-425b-8d6b-1b76a544cfdd" providerId="ADAL" clId="{98A22A67-D799-4041-9A13-2C3ECEAC861D}" dt="2024-12-18T10:27:44.083" v="1369"/>
          <ac:picMkLst>
            <pc:docMk/>
            <pc:sldMk cId="3636961238" sldId="2147379894"/>
            <ac:picMk id="46" creationId="{A1A84153-EFFB-47D0-8CF2-A943F0192775}"/>
          </ac:picMkLst>
        </pc:picChg>
        <pc:picChg chg="mod">
          <ac:chgData name="Jiang, Nancy" userId="2e38f130-956d-425b-8d6b-1b76a544cfdd" providerId="ADAL" clId="{98A22A67-D799-4041-9A13-2C3ECEAC861D}" dt="2024-12-18T10:27:44.083" v="1369"/>
          <ac:picMkLst>
            <pc:docMk/>
            <pc:sldMk cId="3636961238" sldId="2147379894"/>
            <ac:picMk id="47" creationId="{82E88194-4D56-92B8-D88F-564B008BB4E0}"/>
          </ac:picMkLst>
        </pc:picChg>
        <pc:picChg chg="mod">
          <ac:chgData name="Jiang, Nancy" userId="2e38f130-956d-425b-8d6b-1b76a544cfdd" providerId="ADAL" clId="{98A22A67-D799-4041-9A13-2C3ECEAC861D}" dt="2024-12-18T10:27:44.083" v="1369"/>
          <ac:picMkLst>
            <pc:docMk/>
            <pc:sldMk cId="3636961238" sldId="2147379894"/>
            <ac:picMk id="48" creationId="{7BD93D3B-74A9-0AEE-25A9-4DDE8EC76914}"/>
          </ac:picMkLst>
        </pc:picChg>
        <pc:picChg chg="mod">
          <ac:chgData name="Jiang, Nancy" userId="2e38f130-956d-425b-8d6b-1b76a544cfdd" providerId="ADAL" clId="{98A22A67-D799-4041-9A13-2C3ECEAC861D}" dt="2024-12-18T10:27:44.083" v="1369"/>
          <ac:picMkLst>
            <pc:docMk/>
            <pc:sldMk cId="3636961238" sldId="2147379894"/>
            <ac:picMk id="49" creationId="{86612BB2-20D2-CE2D-CEC0-5C0580C10374}"/>
          </ac:picMkLst>
        </pc:picChg>
        <pc:picChg chg="mod">
          <ac:chgData name="Jiang, Nancy" userId="2e38f130-956d-425b-8d6b-1b76a544cfdd" providerId="ADAL" clId="{98A22A67-D799-4041-9A13-2C3ECEAC861D}" dt="2024-12-18T10:27:44.083" v="1369"/>
          <ac:picMkLst>
            <pc:docMk/>
            <pc:sldMk cId="3636961238" sldId="2147379894"/>
            <ac:picMk id="50" creationId="{233CFC27-F236-4189-E6B7-3529FE305848}"/>
          </ac:picMkLst>
        </pc:picChg>
        <pc:picChg chg="mod">
          <ac:chgData name="Jiang, Nancy" userId="2e38f130-956d-425b-8d6b-1b76a544cfdd" providerId="ADAL" clId="{98A22A67-D799-4041-9A13-2C3ECEAC861D}" dt="2024-12-18T10:27:44.083" v="1369"/>
          <ac:picMkLst>
            <pc:docMk/>
            <pc:sldMk cId="3636961238" sldId="2147379894"/>
            <ac:picMk id="55" creationId="{C8887B0E-E88A-957D-3AEC-463D17B40520}"/>
          </ac:picMkLst>
        </pc:picChg>
        <pc:picChg chg="mod">
          <ac:chgData name="Jiang, Nancy" userId="2e38f130-956d-425b-8d6b-1b76a544cfdd" providerId="ADAL" clId="{98A22A67-D799-4041-9A13-2C3ECEAC861D}" dt="2024-12-18T10:27:44.083" v="1369"/>
          <ac:picMkLst>
            <pc:docMk/>
            <pc:sldMk cId="3636961238" sldId="2147379894"/>
            <ac:picMk id="62" creationId="{7D5945C7-4E9D-A5D2-81BF-059A9A85B1B7}"/>
          </ac:picMkLst>
        </pc:picChg>
        <pc:picChg chg="mod">
          <ac:chgData name="Jiang, Nancy" userId="2e38f130-956d-425b-8d6b-1b76a544cfdd" providerId="ADAL" clId="{98A22A67-D799-4041-9A13-2C3ECEAC861D}" dt="2024-12-18T10:27:44.083" v="1369"/>
          <ac:picMkLst>
            <pc:docMk/>
            <pc:sldMk cId="3636961238" sldId="2147379894"/>
            <ac:picMk id="66" creationId="{80FF24E7-A2EB-B203-9AA2-57130421C9FF}"/>
          </ac:picMkLst>
        </pc:picChg>
        <pc:picChg chg="mod">
          <ac:chgData name="Jiang, Nancy" userId="2e38f130-956d-425b-8d6b-1b76a544cfdd" providerId="ADAL" clId="{98A22A67-D799-4041-9A13-2C3ECEAC861D}" dt="2024-12-18T10:27:44.083" v="1369"/>
          <ac:picMkLst>
            <pc:docMk/>
            <pc:sldMk cId="3636961238" sldId="2147379894"/>
            <ac:picMk id="67" creationId="{8C95755F-07D6-B0C6-BB9C-E22C77BD3661}"/>
          </ac:picMkLst>
        </pc:picChg>
        <pc:picChg chg="mod">
          <ac:chgData name="Jiang, Nancy" userId="2e38f130-956d-425b-8d6b-1b76a544cfdd" providerId="ADAL" clId="{98A22A67-D799-4041-9A13-2C3ECEAC861D}" dt="2024-12-18T10:27:44.083" v="1369"/>
          <ac:picMkLst>
            <pc:docMk/>
            <pc:sldMk cId="3636961238" sldId="2147379894"/>
            <ac:picMk id="68" creationId="{243692BE-503C-2F4E-D064-9D3784E156D1}"/>
          </ac:picMkLst>
        </pc:picChg>
        <pc:picChg chg="mod">
          <ac:chgData name="Jiang, Nancy" userId="2e38f130-956d-425b-8d6b-1b76a544cfdd" providerId="ADAL" clId="{98A22A67-D799-4041-9A13-2C3ECEAC861D}" dt="2024-12-18T10:27:44.083" v="1369"/>
          <ac:picMkLst>
            <pc:docMk/>
            <pc:sldMk cId="3636961238" sldId="2147379894"/>
            <ac:picMk id="69" creationId="{933470A6-2A41-196E-8D0E-7C8999C90CE3}"/>
          </ac:picMkLst>
        </pc:picChg>
        <pc:cxnChg chg="add del mod">
          <ac:chgData name="Jiang, Nancy" userId="2e38f130-956d-425b-8d6b-1b76a544cfdd" providerId="ADAL" clId="{98A22A67-D799-4041-9A13-2C3ECEAC861D}" dt="2024-12-18T01:40:36.927" v="973" actId="1076"/>
          <ac:cxnSpMkLst>
            <pc:docMk/>
            <pc:sldMk cId="3636961238" sldId="2147379894"/>
            <ac:cxnSpMk id="10" creationId="{9F492A4D-EC26-9FB7-1B7D-B4E4B054952C}"/>
          </ac:cxnSpMkLst>
        </pc:cxnChg>
        <pc:cxnChg chg="add mod">
          <ac:chgData name="Jiang, Nancy" userId="2e38f130-956d-425b-8d6b-1b76a544cfdd" providerId="ADAL" clId="{98A22A67-D799-4041-9A13-2C3ECEAC861D}" dt="2024-12-18T01:40:36.927" v="973" actId="1076"/>
          <ac:cxnSpMkLst>
            <pc:docMk/>
            <pc:sldMk cId="3636961238" sldId="2147379894"/>
            <ac:cxnSpMk id="11" creationId="{AAD31B00-9ED3-9997-8E61-426EAF7F046C}"/>
          </ac:cxnSpMkLst>
        </pc:cxnChg>
        <pc:cxnChg chg="add mod">
          <ac:chgData name="Jiang, Nancy" userId="2e38f130-956d-425b-8d6b-1b76a544cfdd" providerId="ADAL" clId="{98A22A67-D799-4041-9A13-2C3ECEAC861D}" dt="2024-12-18T01:40:36.927" v="973" actId="1076"/>
          <ac:cxnSpMkLst>
            <pc:docMk/>
            <pc:sldMk cId="3636961238" sldId="2147379894"/>
            <ac:cxnSpMk id="12" creationId="{DF83C15D-9945-00C7-6DEB-ADEF3C6F63BA}"/>
          </ac:cxnSpMkLst>
        </pc:cxnChg>
        <pc:cxnChg chg="add mod">
          <ac:chgData name="Jiang, Nancy" userId="2e38f130-956d-425b-8d6b-1b76a544cfdd" providerId="ADAL" clId="{98A22A67-D799-4041-9A13-2C3ECEAC861D}" dt="2024-12-18T01:40:36.927" v="973" actId="1076"/>
          <ac:cxnSpMkLst>
            <pc:docMk/>
            <pc:sldMk cId="3636961238" sldId="2147379894"/>
            <ac:cxnSpMk id="13" creationId="{65E6F0DB-814A-3DA9-80A1-1C44F522D3FA}"/>
          </ac:cxnSpMkLst>
        </pc:cxnChg>
        <pc:cxnChg chg="add mod">
          <ac:chgData name="Jiang, Nancy" userId="2e38f130-956d-425b-8d6b-1b76a544cfdd" providerId="ADAL" clId="{98A22A67-D799-4041-9A13-2C3ECEAC861D}" dt="2024-12-18T01:40:36.927" v="973" actId="1076"/>
          <ac:cxnSpMkLst>
            <pc:docMk/>
            <pc:sldMk cId="3636961238" sldId="2147379894"/>
            <ac:cxnSpMk id="15" creationId="{76389579-53DE-A580-DECA-D7AEF397AEE1}"/>
          </ac:cxnSpMkLst>
        </pc:cxnChg>
        <pc:cxnChg chg="add mod">
          <ac:chgData name="Jiang, Nancy" userId="2e38f130-956d-425b-8d6b-1b76a544cfdd" providerId="ADAL" clId="{98A22A67-D799-4041-9A13-2C3ECEAC861D}" dt="2024-12-18T01:40:36.927" v="973" actId="1076"/>
          <ac:cxnSpMkLst>
            <pc:docMk/>
            <pc:sldMk cId="3636961238" sldId="2147379894"/>
            <ac:cxnSpMk id="16" creationId="{A6981764-8FF3-0A8E-5D77-EE1699D813E8}"/>
          </ac:cxnSpMkLst>
        </pc:cxnChg>
        <pc:cxnChg chg="add mod">
          <ac:chgData name="Jiang, Nancy" userId="2e38f130-956d-425b-8d6b-1b76a544cfdd" providerId="ADAL" clId="{98A22A67-D799-4041-9A13-2C3ECEAC861D}" dt="2024-12-18T01:40:36.927" v="973" actId="1076"/>
          <ac:cxnSpMkLst>
            <pc:docMk/>
            <pc:sldMk cId="3636961238" sldId="2147379894"/>
            <ac:cxnSpMk id="28" creationId="{6DA3D721-A537-B236-9D5C-EC02FB8BF791}"/>
          </ac:cxnSpMkLst>
        </pc:cxnChg>
        <pc:cxnChg chg="mod">
          <ac:chgData name="Jiang, Nancy" userId="2e38f130-956d-425b-8d6b-1b76a544cfdd" providerId="ADAL" clId="{98A22A67-D799-4041-9A13-2C3ECEAC861D}" dt="2024-12-18T10:27:44.083" v="1369"/>
          <ac:cxnSpMkLst>
            <pc:docMk/>
            <pc:sldMk cId="3636961238" sldId="2147379894"/>
            <ac:cxnSpMk id="51" creationId="{E3F4600F-EFF6-81FC-8A43-04D8FC4193D8}"/>
          </ac:cxnSpMkLst>
        </pc:cxnChg>
        <pc:cxnChg chg="mod">
          <ac:chgData name="Jiang, Nancy" userId="2e38f130-956d-425b-8d6b-1b76a544cfdd" providerId="ADAL" clId="{98A22A67-D799-4041-9A13-2C3ECEAC861D}" dt="2024-12-18T10:27:44.083" v="1369"/>
          <ac:cxnSpMkLst>
            <pc:docMk/>
            <pc:sldMk cId="3636961238" sldId="2147379894"/>
            <ac:cxnSpMk id="52" creationId="{EF4CBC9C-1CC5-DE8F-6372-CE137252D15A}"/>
          </ac:cxnSpMkLst>
        </pc:cxnChg>
        <pc:cxnChg chg="mod">
          <ac:chgData name="Jiang, Nancy" userId="2e38f130-956d-425b-8d6b-1b76a544cfdd" providerId="ADAL" clId="{98A22A67-D799-4041-9A13-2C3ECEAC861D}" dt="2024-12-18T10:27:44.083" v="1369"/>
          <ac:cxnSpMkLst>
            <pc:docMk/>
            <pc:sldMk cId="3636961238" sldId="2147379894"/>
            <ac:cxnSpMk id="53" creationId="{F194E907-D9D2-141C-F059-1BD47C6CDCBF}"/>
          </ac:cxnSpMkLst>
        </pc:cxnChg>
        <pc:cxnChg chg="mod">
          <ac:chgData name="Jiang, Nancy" userId="2e38f130-956d-425b-8d6b-1b76a544cfdd" providerId="ADAL" clId="{98A22A67-D799-4041-9A13-2C3ECEAC861D}" dt="2024-12-18T10:27:44.083" v="1369"/>
          <ac:cxnSpMkLst>
            <pc:docMk/>
            <pc:sldMk cId="3636961238" sldId="2147379894"/>
            <ac:cxnSpMk id="54" creationId="{003D14A1-21F7-8866-8847-A60905C58A61}"/>
          </ac:cxnSpMkLst>
        </pc:cxnChg>
        <pc:cxnChg chg="mod">
          <ac:chgData name="Jiang, Nancy" userId="2e38f130-956d-425b-8d6b-1b76a544cfdd" providerId="ADAL" clId="{98A22A67-D799-4041-9A13-2C3ECEAC861D}" dt="2024-12-18T10:27:44.083" v="1369"/>
          <ac:cxnSpMkLst>
            <pc:docMk/>
            <pc:sldMk cId="3636961238" sldId="2147379894"/>
            <ac:cxnSpMk id="64" creationId="{2A9A2305-75E4-CC2B-1300-4985F17077B4}"/>
          </ac:cxnSpMkLst>
        </pc:cxnChg>
        <pc:cxnChg chg="mod">
          <ac:chgData name="Jiang, Nancy" userId="2e38f130-956d-425b-8d6b-1b76a544cfdd" providerId="ADAL" clId="{98A22A67-D799-4041-9A13-2C3ECEAC861D}" dt="2024-12-18T10:27:44.083" v="1369"/>
          <ac:cxnSpMkLst>
            <pc:docMk/>
            <pc:sldMk cId="3636961238" sldId="2147379894"/>
            <ac:cxnSpMk id="65" creationId="{416DC373-9E6F-76B7-0326-5607B0794142}"/>
          </ac:cxnSpMkLst>
        </pc:cxnChg>
      </pc:sldChg>
      <pc:sldChg chg="addSp delSp modSp new mod">
        <pc:chgData name="Jiang, Nancy" userId="2e38f130-956d-425b-8d6b-1b76a544cfdd" providerId="ADAL" clId="{98A22A67-D799-4041-9A13-2C3ECEAC861D}" dt="2024-12-18T10:29:53.111" v="1422" actId="1076"/>
        <pc:sldMkLst>
          <pc:docMk/>
          <pc:sldMk cId="1179203819" sldId="2147379895"/>
        </pc:sldMkLst>
        <pc:spChg chg="add del">
          <ac:chgData name="Jiang, Nancy" userId="2e38f130-956d-425b-8d6b-1b76a544cfdd" providerId="ADAL" clId="{98A22A67-D799-4041-9A13-2C3ECEAC861D}" dt="2024-12-18T10:18:39.542" v="1286" actId="478"/>
          <ac:spMkLst>
            <pc:docMk/>
            <pc:sldMk cId="1179203819" sldId="2147379895"/>
            <ac:spMk id="2" creationId="{3AC7A2D2-09AB-2EB8-7E03-7C70D76B906F}"/>
          </ac:spMkLst>
        </pc:spChg>
        <pc:spChg chg="del">
          <ac:chgData name="Jiang, Nancy" userId="2e38f130-956d-425b-8d6b-1b76a544cfdd" providerId="ADAL" clId="{98A22A67-D799-4041-9A13-2C3ECEAC861D}" dt="2024-12-18T10:17:03.636" v="1268" actId="478"/>
          <ac:spMkLst>
            <pc:docMk/>
            <pc:sldMk cId="1179203819" sldId="2147379895"/>
            <ac:spMk id="4" creationId="{EAE993A4-933C-D453-04BB-660531B6DE39}"/>
          </ac:spMkLst>
        </pc:spChg>
        <pc:spChg chg="mod">
          <ac:chgData name="Jiang, Nancy" userId="2e38f130-956d-425b-8d6b-1b76a544cfdd" providerId="ADAL" clId="{98A22A67-D799-4041-9A13-2C3ECEAC861D}" dt="2024-12-18T10:24:24.729" v="1300" actId="1076"/>
          <ac:spMkLst>
            <pc:docMk/>
            <pc:sldMk cId="1179203819" sldId="2147379895"/>
            <ac:spMk id="19" creationId="{E7AB37C7-88ED-AB9E-E982-5DB74D845698}"/>
          </ac:spMkLst>
        </pc:spChg>
        <pc:spChg chg="mod">
          <ac:chgData name="Jiang, Nancy" userId="2e38f130-956d-425b-8d6b-1b76a544cfdd" providerId="ADAL" clId="{98A22A67-D799-4041-9A13-2C3ECEAC861D}" dt="2024-12-18T10:24:24.729" v="1300" actId="1076"/>
          <ac:spMkLst>
            <pc:docMk/>
            <pc:sldMk cId="1179203819" sldId="2147379895"/>
            <ac:spMk id="20" creationId="{DA7EC9D6-71E8-ACB3-9245-23CD77BC5C3E}"/>
          </ac:spMkLst>
        </pc:spChg>
        <pc:spChg chg="mod">
          <ac:chgData name="Jiang, Nancy" userId="2e38f130-956d-425b-8d6b-1b76a544cfdd" providerId="ADAL" clId="{98A22A67-D799-4041-9A13-2C3ECEAC861D}" dt="2024-12-18T10:24:24.729" v="1300" actId="1076"/>
          <ac:spMkLst>
            <pc:docMk/>
            <pc:sldMk cId="1179203819" sldId="2147379895"/>
            <ac:spMk id="21" creationId="{4824BC03-C94B-8307-8438-D4976C26D4F7}"/>
          </ac:spMkLst>
        </pc:spChg>
        <pc:spChg chg="mod">
          <ac:chgData name="Jiang, Nancy" userId="2e38f130-956d-425b-8d6b-1b76a544cfdd" providerId="ADAL" clId="{98A22A67-D799-4041-9A13-2C3ECEAC861D}" dt="2024-12-18T10:24:24.729" v="1300" actId="1076"/>
          <ac:spMkLst>
            <pc:docMk/>
            <pc:sldMk cId="1179203819" sldId="2147379895"/>
            <ac:spMk id="22" creationId="{1A430B9F-FB71-DD2C-C630-98669F3B5E05}"/>
          </ac:spMkLst>
        </pc:spChg>
        <pc:spChg chg="mod">
          <ac:chgData name="Jiang, Nancy" userId="2e38f130-956d-425b-8d6b-1b76a544cfdd" providerId="ADAL" clId="{98A22A67-D799-4041-9A13-2C3ECEAC861D}" dt="2024-12-18T10:24:24.729" v="1300" actId="1076"/>
          <ac:spMkLst>
            <pc:docMk/>
            <pc:sldMk cId="1179203819" sldId="2147379895"/>
            <ac:spMk id="23" creationId="{1B71FD7E-E5C0-DEEC-5B3B-5B4944F037DC}"/>
          </ac:spMkLst>
        </pc:spChg>
        <pc:spChg chg="mod">
          <ac:chgData name="Jiang, Nancy" userId="2e38f130-956d-425b-8d6b-1b76a544cfdd" providerId="ADAL" clId="{98A22A67-D799-4041-9A13-2C3ECEAC861D}" dt="2024-12-18T10:24:24.729" v="1300" actId="1076"/>
          <ac:spMkLst>
            <pc:docMk/>
            <pc:sldMk cId="1179203819" sldId="2147379895"/>
            <ac:spMk id="24" creationId="{780A55A7-14BC-0200-C5EA-C560FA5F24F4}"/>
          </ac:spMkLst>
        </pc:spChg>
        <pc:spChg chg="mod">
          <ac:chgData name="Jiang, Nancy" userId="2e38f130-956d-425b-8d6b-1b76a544cfdd" providerId="ADAL" clId="{98A22A67-D799-4041-9A13-2C3ECEAC861D}" dt="2024-12-18T10:24:24.729" v="1300" actId="1076"/>
          <ac:spMkLst>
            <pc:docMk/>
            <pc:sldMk cId="1179203819" sldId="2147379895"/>
            <ac:spMk id="26" creationId="{66E1C11C-6292-114A-446E-15A09C64EFA5}"/>
          </ac:spMkLst>
        </pc:spChg>
        <pc:spChg chg="mod">
          <ac:chgData name="Jiang, Nancy" userId="2e38f130-956d-425b-8d6b-1b76a544cfdd" providerId="ADAL" clId="{98A22A67-D799-4041-9A13-2C3ECEAC861D}" dt="2024-12-18T10:24:03.067" v="1295" actId="1076"/>
          <ac:spMkLst>
            <pc:docMk/>
            <pc:sldMk cId="1179203819" sldId="2147379895"/>
            <ac:spMk id="45" creationId="{6C7B2874-1B70-D4C8-38C5-ED855B70D9D6}"/>
          </ac:spMkLst>
        </pc:spChg>
        <pc:spChg chg="mod">
          <ac:chgData name="Jiang, Nancy" userId="2e38f130-956d-425b-8d6b-1b76a544cfdd" providerId="ADAL" clId="{98A22A67-D799-4041-9A13-2C3ECEAC861D}" dt="2024-12-18T10:24:03.067" v="1295" actId="1076"/>
          <ac:spMkLst>
            <pc:docMk/>
            <pc:sldMk cId="1179203819" sldId="2147379895"/>
            <ac:spMk id="46" creationId="{C2083A3D-7FD6-D3B3-372B-1D4E42C6E2E1}"/>
          </ac:spMkLst>
        </pc:spChg>
        <pc:spChg chg="mod">
          <ac:chgData name="Jiang, Nancy" userId="2e38f130-956d-425b-8d6b-1b76a544cfdd" providerId="ADAL" clId="{98A22A67-D799-4041-9A13-2C3ECEAC861D}" dt="2024-12-18T10:24:03.067" v="1295" actId="1076"/>
          <ac:spMkLst>
            <pc:docMk/>
            <pc:sldMk cId="1179203819" sldId="2147379895"/>
            <ac:spMk id="47" creationId="{8502024F-9F10-6F0A-B0D1-383FABAA4DFF}"/>
          </ac:spMkLst>
        </pc:spChg>
        <pc:spChg chg="mod">
          <ac:chgData name="Jiang, Nancy" userId="2e38f130-956d-425b-8d6b-1b76a544cfdd" providerId="ADAL" clId="{98A22A67-D799-4041-9A13-2C3ECEAC861D}" dt="2024-12-18T10:24:03.067" v="1295" actId="1076"/>
          <ac:spMkLst>
            <pc:docMk/>
            <pc:sldMk cId="1179203819" sldId="2147379895"/>
            <ac:spMk id="48" creationId="{5B5C1509-8649-2E95-92C3-2DF4C1102594}"/>
          </ac:spMkLst>
        </pc:spChg>
        <pc:spChg chg="mod">
          <ac:chgData name="Jiang, Nancy" userId="2e38f130-956d-425b-8d6b-1b76a544cfdd" providerId="ADAL" clId="{98A22A67-D799-4041-9A13-2C3ECEAC861D}" dt="2024-12-18T10:24:03.067" v="1295" actId="1076"/>
          <ac:spMkLst>
            <pc:docMk/>
            <pc:sldMk cId="1179203819" sldId="2147379895"/>
            <ac:spMk id="49" creationId="{9CEF2B67-6644-5D98-11F4-76D417927DA5}"/>
          </ac:spMkLst>
        </pc:spChg>
        <pc:spChg chg="mod">
          <ac:chgData name="Jiang, Nancy" userId="2e38f130-956d-425b-8d6b-1b76a544cfdd" providerId="ADAL" clId="{98A22A67-D799-4041-9A13-2C3ECEAC861D}" dt="2024-12-18T10:24:03.067" v="1295" actId="1076"/>
          <ac:spMkLst>
            <pc:docMk/>
            <pc:sldMk cId="1179203819" sldId="2147379895"/>
            <ac:spMk id="50" creationId="{7E09CF98-DA3F-F15D-DC53-B0DD1D8D31B8}"/>
          </ac:spMkLst>
        </pc:spChg>
        <pc:spChg chg="mod">
          <ac:chgData name="Jiang, Nancy" userId="2e38f130-956d-425b-8d6b-1b76a544cfdd" providerId="ADAL" clId="{98A22A67-D799-4041-9A13-2C3ECEAC861D}" dt="2024-12-18T10:24:03.067" v="1295" actId="1076"/>
          <ac:spMkLst>
            <pc:docMk/>
            <pc:sldMk cId="1179203819" sldId="2147379895"/>
            <ac:spMk id="52" creationId="{8FFBB2CB-19C2-14D6-CF63-4DD0BBDCF521}"/>
          </ac:spMkLst>
        </pc:spChg>
        <pc:spChg chg="add mod">
          <ac:chgData name="Jiang, Nancy" userId="2e38f130-956d-425b-8d6b-1b76a544cfdd" providerId="ADAL" clId="{98A22A67-D799-4041-9A13-2C3ECEAC861D}" dt="2024-12-18T10:28:37.113" v="1394"/>
          <ac:spMkLst>
            <pc:docMk/>
            <pc:sldMk cId="1179203819" sldId="2147379895"/>
            <ac:spMk id="60" creationId="{46123FC2-E5BF-C5D9-D5FA-9E4034E27C11}"/>
          </ac:spMkLst>
        </pc:spChg>
        <pc:spChg chg="add mod">
          <ac:chgData name="Jiang, Nancy" userId="2e38f130-956d-425b-8d6b-1b76a544cfdd" providerId="ADAL" clId="{98A22A67-D799-4041-9A13-2C3ECEAC861D}" dt="2024-12-18T10:28:37.113" v="1394"/>
          <ac:spMkLst>
            <pc:docMk/>
            <pc:sldMk cId="1179203819" sldId="2147379895"/>
            <ac:spMk id="61" creationId="{26A65622-B348-4E76-582F-CBFA02119BF0}"/>
          </ac:spMkLst>
        </pc:spChg>
        <pc:spChg chg="add mod">
          <ac:chgData name="Jiang, Nancy" userId="2e38f130-956d-425b-8d6b-1b76a544cfdd" providerId="ADAL" clId="{98A22A67-D799-4041-9A13-2C3ECEAC861D}" dt="2024-12-18T10:28:47.084" v="1404"/>
          <ac:spMkLst>
            <pc:docMk/>
            <pc:sldMk cId="1179203819" sldId="2147379895"/>
            <ac:spMk id="62" creationId="{BE7E1C85-9B88-8029-9A46-19C3302679B8}"/>
          </ac:spMkLst>
        </pc:spChg>
        <pc:spChg chg="add mod">
          <ac:chgData name="Jiang, Nancy" userId="2e38f130-956d-425b-8d6b-1b76a544cfdd" providerId="ADAL" clId="{98A22A67-D799-4041-9A13-2C3ECEAC861D}" dt="2024-12-18T10:29:00.561" v="1406" actId="1076"/>
          <ac:spMkLst>
            <pc:docMk/>
            <pc:sldMk cId="1179203819" sldId="2147379895"/>
            <ac:spMk id="63" creationId="{1036D96F-0B57-6359-18E8-6B7BB268E43C}"/>
          </ac:spMkLst>
        </pc:spChg>
        <pc:spChg chg="add mod">
          <ac:chgData name="Jiang, Nancy" userId="2e38f130-956d-425b-8d6b-1b76a544cfdd" providerId="ADAL" clId="{98A22A67-D799-4041-9A13-2C3ECEAC861D}" dt="2024-12-18T10:29:00.561" v="1406" actId="1076"/>
          <ac:spMkLst>
            <pc:docMk/>
            <pc:sldMk cId="1179203819" sldId="2147379895"/>
            <ac:spMk id="64" creationId="{7081E02C-CB0C-B62B-641C-59313D599097}"/>
          </ac:spMkLst>
        </pc:spChg>
        <pc:spChg chg="add mod">
          <ac:chgData name="Jiang, Nancy" userId="2e38f130-956d-425b-8d6b-1b76a544cfdd" providerId="ADAL" clId="{98A22A67-D799-4041-9A13-2C3ECEAC861D}" dt="2024-12-18T10:29:14.237" v="1409" actId="14100"/>
          <ac:spMkLst>
            <pc:docMk/>
            <pc:sldMk cId="1179203819" sldId="2147379895"/>
            <ac:spMk id="65" creationId="{4C37A9E9-A17B-A8F4-39A9-432404663DDF}"/>
          </ac:spMkLst>
        </pc:spChg>
        <pc:spChg chg="add mod">
          <ac:chgData name="Jiang, Nancy" userId="2e38f130-956d-425b-8d6b-1b76a544cfdd" providerId="ADAL" clId="{98A22A67-D799-4041-9A13-2C3ECEAC861D}" dt="2024-12-18T10:29:17.407" v="1410" actId="1076"/>
          <ac:spMkLst>
            <pc:docMk/>
            <pc:sldMk cId="1179203819" sldId="2147379895"/>
            <ac:spMk id="66" creationId="{03DB2B33-D8D1-BF99-A71C-0BCC7B53E79F}"/>
          </ac:spMkLst>
        </pc:spChg>
        <pc:spChg chg="add mod">
          <ac:chgData name="Jiang, Nancy" userId="2e38f130-956d-425b-8d6b-1b76a544cfdd" providerId="ADAL" clId="{98A22A67-D799-4041-9A13-2C3ECEAC861D}" dt="2024-12-18T10:29:30.955" v="1414" actId="1076"/>
          <ac:spMkLst>
            <pc:docMk/>
            <pc:sldMk cId="1179203819" sldId="2147379895"/>
            <ac:spMk id="68" creationId="{397A2DE3-367B-AC46-0B53-78ABA7852D53}"/>
          </ac:spMkLst>
        </pc:spChg>
        <pc:spChg chg="add mod">
          <ac:chgData name="Jiang, Nancy" userId="2e38f130-956d-425b-8d6b-1b76a544cfdd" providerId="ADAL" clId="{98A22A67-D799-4041-9A13-2C3ECEAC861D}" dt="2024-12-18T10:29:40.157" v="1418" actId="20577"/>
          <ac:spMkLst>
            <pc:docMk/>
            <pc:sldMk cId="1179203819" sldId="2147379895"/>
            <ac:spMk id="69" creationId="{EF409875-46D8-6574-080D-F4208E5E0D5C}"/>
          </ac:spMkLst>
        </pc:spChg>
        <pc:spChg chg="add mod">
          <ac:chgData name="Jiang, Nancy" userId="2e38f130-956d-425b-8d6b-1b76a544cfdd" providerId="ADAL" clId="{98A22A67-D799-4041-9A13-2C3ECEAC861D}" dt="2024-12-18T10:29:49.626" v="1421" actId="14100"/>
          <ac:spMkLst>
            <pc:docMk/>
            <pc:sldMk cId="1179203819" sldId="2147379895"/>
            <ac:spMk id="70" creationId="{B4A8B1A9-C446-FBB9-7BC8-7FDC5921A8DA}"/>
          </ac:spMkLst>
        </pc:spChg>
        <pc:spChg chg="add mod">
          <ac:chgData name="Jiang, Nancy" userId="2e38f130-956d-425b-8d6b-1b76a544cfdd" providerId="ADAL" clId="{98A22A67-D799-4041-9A13-2C3ECEAC861D}" dt="2024-12-18T10:29:53.111" v="1422" actId="1076"/>
          <ac:spMkLst>
            <pc:docMk/>
            <pc:sldMk cId="1179203819" sldId="2147379895"/>
            <ac:spMk id="71" creationId="{5EF60F11-5D03-5216-D564-151BE8652869}"/>
          </ac:spMkLst>
        </pc:spChg>
        <pc:grpChg chg="add mod">
          <ac:chgData name="Jiang, Nancy" userId="2e38f130-956d-425b-8d6b-1b76a544cfdd" providerId="ADAL" clId="{98A22A67-D799-4041-9A13-2C3ECEAC861D}" dt="2024-12-18T10:24:24.729" v="1300" actId="1076"/>
          <ac:grpSpMkLst>
            <pc:docMk/>
            <pc:sldMk cId="1179203819" sldId="2147379895"/>
            <ac:grpSpMk id="5" creationId="{23BDEEDE-F871-B76F-0D55-A63AA6EC2325}"/>
          </ac:grpSpMkLst>
        </pc:grpChg>
        <pc:grpChg chg="add mod">
          <ac:chgData name="Jiang, Nancy" userId="2e38f130-956d-425b-8d6b-1b76a544cfdd" providerId="ADAL" clId="{98A22A67-D799-4041-9A13-2C3ECEAC861D}" dt="2024-12-18T10:24:03.067" v="1295" actId="1076"/>
          <ac:grpSpMkLst>
            <pc:docMk/>
            <pc:sldMk cId="1179203819" sldId="2147379895"/>
            <ac:grpSpMk id="34" creationId="{47596C62-CC2C-9E21-A0FF-EE29207479E4}"/>
          </ac:grpSpMkLst>
        </pc:grpChg>
        <pc:grpChg chg="add mod">
          <ac:chgData name="Jiang, Nancy" userId="2e38f130-956d-425b-8d6b-1b76a544cfdd" providerId="ADAL" clId="{98A22A67-D799-4041-9A13-2C3ECEAC861D}" dt="2024-12-18T10:24:24.729" v="1300" actId="1076"/>
          <ac:grpSpMkLst>
            <pc:docMk/>
            <pc:sldMk cId="1179203819" sldId="2147379895"/>
            <ac:grpSpMk id="59" creationId="{3518E1E3-D971-C1EC-8059-6B7FB89D0F9B}"/>
          </ac:grpSpMkLst>
        </pc:grpChg>
        <pc:picChg chg="mod">
          <ac:chgData name="Jiang, Nancy" userId="2e38f130-956d-425b-8d6b-1b76a544cfdd" providerId="ADAL" clId="{98A22A67-D799-4041-9A13-2C3ECEAC861D}" dt="2024-12-18T10:24:24.729" v="1300" actId="1076"/>
          <ac:picMkLst>
            <pc:docMk/>
            <pc:sldMk cId="1179203819" sldId="2147379895"/>
            <ac:picMk id="6" creationId="{18C6C1A2-647D-4765-65DF-FBA636A60E06}"/>
          </ac:picMkLst>
        </pc:picChg>
        <pc:picChg chg="mod">
          <ac:chgData name="Jiang, Nancy" userId="2e38f130-956d-425b-8d6b-1b76a544cfdd" providerId="ADAL" clId="{98A22A67-D799-4041-9A13-2C3ECEAC861D}" dt="2024-12-18T10:24:24.729" v="1300" actId="1076"/>
          <ac:picMkLst>
            <pc:docMk/>
            <pc:sldMk cId="1179203819" sldId="2147379895"/>
            <ac:picMk id="7" creationId="{DC8376CB-4997-8921-8950-6A5AF8935D98}"/>
          </ac:picMkLst>
        </pc:picChg>
        <pc:picChg chg="mod">
          <ac:chgData name="Jiang, Nancy" userId="2e38f130-956d-425b-8d6b-1b76a544cfdd" providerId="ADAL" clId="{98A22A67-D799-4041-9A13-2C3ECEAC861D}" dt="2024-12-18T10:24:24.729" v="1300" actId="1076"/>
          <ac:picMkLst>
            <pc:docMk/>
            <pc:sldMk cId="1179203819" sldId="2147379895"/>
            <ac:picMk id="8" creationId="{94A32C09-3CDF-2E2B-648B-4E152A30AFE2}"/>
          </ac:picMkLst>
        </pc:picChg>
        <pc:picChg chg="mod">
          <ac:chgData name="Jiang, Nancy" userId="2e38f130-956d-425b-8d6b-1b76a544cfdd" providerId="ADAL" clId="{98A22A67-D799-4041-9A13-2C3ECEAC861D}" dt="2024-12-18T10:24:24.729" v="1300" actId="1076"/>
          <ac:picMkLst>
            <pc:docMk/>
            <pc:sldMk cId="1179203819" sldId="2147379895"/>
            <ac:picMk id="9" creationId="{8DD6F62F-CA78-8448-333A-49FCF0F53362}"/>
          </ac:picMkLst>
        </pc:picChg>
        <pc:picChg chg="mod">
          <ac:chgData name="Jiang, Nancy" userId="2e38f130-956d-425b-8d6b-1b76a544cfdd" providerId="ADAL" clId="{98A22A67-D799-4041-9A13-2C3ECEAC861D}" dt="2024-12-18T10:24:24.729" v="1300" actId="1076"/>
          <ac:picMkLst>
            <pc:docMk/>
            <pc:sldMk cId="1179203819" sldId="2147379895"/>
            <ac:picMk id="10" creationId="{1B92C3FF-C6C8-989D-1100-CD03E1BAF650}"/>
          </ac:picMkLst>
        </pc:picChg>
        <pc:picChg chg="mod">
          <ac:chgData name="Jiang, Nancy" userId="2e38f130-956d-425b-8d6b-1b76a544cfdd" providerId="ADAL" clId="{98A22A67-D799-4041-9A13-2C3ECEAC861D}" dt="2024-12-18T10:24:24.729" v="1300" actId="1076"/>
          <ac:picMkLst>
            <pc:docMk/>
            <pc:sldMk cId="1179203819" sldId="2147379895"/>
            <ac:picMk id="15" creationId="{22A50C17-0839-9C54-6593-CBB8E6A4A20A}"/>
          </ac:picMkLst>
        </pc:picChg>
        <pc:picChg chg="mod">
          <ac:chgData name="Jiang, Nancy" userId="2e38f130-956d-425b-8d6b-1b76a544cfdd" providerId="ADAL" clId="{98A22A67-D799-4041-9A13-2C3ECEAC861D}" dt="2024-12-18T10:24:24.729" v="1300" actId="1076"/>
          <ac:picMkLst>
            <pc:docMk/>
            <pc:sldMk cId="1179203819" sldId="2147379895"/>
            <ac:picMk id="18" creationId="{5E76ED6E-68CC-495B-AF33-FB3E71F904F8}"/>
          </ac:picMkLst>
        </pc:picChg>
        <pc:picChg chg="mod">
          <ac:chgData name="Jiang, Nancy" userId="2e38f130-956d-425b-8d6b-1b76a544cfdd" providerId="ADAL" clId="{98A22A67-D799-4041-9A13-2C3ECEAC861D}" dt="2024-12-18T10:24:24.729" v="1300" actId="1076"/>
          <ac:picMkLst>
            <pc:docMk/>
            <pc:sldMk cId="1179203819" sldId="2147379895"/>
            <ac:picMk id="25" creationId="{CB00053C-57AC-94E2-61D0-BA3B141A6E1C}"/>
          </ac:picMkLst>
        </pc:picChg>
        <pc:picChg chg="del mod">
          <ac:chgData name="Jiang, Nancy" userId="2e38f130-956d-425b-8d6b-1b76a544cfdd" providerId="ADAL" clId="{98A22A67-D799-4041-9A13-2C3ECEAC861D}" dt="2024-12-18T10:17:14.912" v="1270" actId="478"/>
          <ac:picMkLst>
            <pc:docMk/>
            <pc:sldMk cId="1179203819" sldId="2147379895"/>
            <ac:picMk id="28" creationId="{B72E2137-0D5B-7C4A-CA72-A7981CBD0CEB}"/>
          </ac:picMkLst>
        </pc:picChg>
        <pc:picChg chg="mod">
          <ac:chgData name="Jiang, Nancy" userId="2e38f130-956d-425b-8d6b-1b76a544cfdd" providerId="ADAL" clId="{98A22A67-D799-4041-9A13-2C3ECEAC861D}" dt="2024-12-18T10:24:24.729" v="1300" actId="1076"/>
          <ac:picMkLst>
            <pc:docMk/>
            <pc:sldMk cId="1179203819" sldId="2147379895"/>
            <ac:picMk id="29" creationId="{3198CE07-75F4-BB15-20DE-1CEBF2D4806F}"/>
          </ac:picMkLst>
        </pc:picChg>
        <pc:picChg chg="mod">
          <ac:chgData name="Jiang, Nancy" userId="2e38f130-956d-425b-8d6b-1b76a544cfdd" providerId="ADAL" clId="{98A22A67-D799-4041-9A13-2C3ECEAC861D}" dt="2024-12-18T10:24:24.729" v="1300" actId="1076"/>
          <ac:picMkLst>
            <pc:docMk/>
            <pc:sldMk cId="1179203819" sldId="2147379895"/>
            <ac:picMk id="30" creationId="{2E7B7623-CCEA-FC9D-D938-A579E790484D}"/>
          </ac:picMkLst>
        </pc:picChg>
        <pc:picChg chg="add mod">
          <ac:chgData name="Jiang, Nancy" userId="2e38f130-956d-425b-8d6b-1b76a544cfdd" providerId="ADAL" clId="{98A22A67-D799-4041-9A13-2C3ECEAC861D}" dt="2024-12-18T10:24:24.729" v="1300" actId="1076"/>
          <ac:picMkLst>
            <pc:docMk/>
            <pc:sldMk cId="1179203819" sldId="2147379895"/>
            <ac:picMk id="31" creationId="{34D484B1-1487-6B7A-7664-EE457AC6B672}"/>
          </ac:picMkLst>
        </pc:picChg>
        <pc:picChg chg="add mod">
          <ac:chgData name="Jiang, Nancy" userId="2e38f130-956d-425b-8d6b-1b76a544cfdd" providerId="ADAL" clId="{98A22A67-D799-4041-9A13-2C3ECEAC861D}" dt="2024-12-18T10:24:24.729" v="1300" actId="1076"/>
          <ac:picMkLst>
            <pc:docMk/>
            <pc:sldMk cId="1179203819" sldId="2147379895"/>
            <ac:picMk id="32" creationId="{E5DE3B93-7C9F-E875-466D-997A2BD432F7}"/>
          </ac:picMkLst>
        </pc:picChg>
        <pc:picChg chg="add mod">
          <ac:chgData name="Jiang, Nancy" userId="2e38f130-956d-425b-8d6b-1b76a544cfdd" providerId="ADAL" clId="{98A22A67-D799-4041-9A13-2C3ECEAC861D}" dt="2024-12-18T10:24:24.729" v="1300" actId="1076"/>
          <ac:picMkLst>
            <pc:docMk/>
            <pc:sldMk cId="1179203819" sldId="2147379895"/>
            <ac:picMk id="33" creationId="{267F9354-3EB0-17DA-0B1C-1666EAD79990}"/>
          </ac:picMkLst>
        </pc:picChg>
        <pc:picChg chg="mod">
          <ac:chgData name="Jiang, Nancy" userId="2e38f130-956d-425b-8d6b-1b76a544cfdd" providerId="ADAL" clId="{98A22A67-D799-4041-9A13-2C3ECEAC861D}" dt="2024-12-18T10:24:03.067" v="1295" actId="1076"/>
          <ac:picMkLst>
            <pc:docMk/>
            <pc:sldMk cId="1179203819" sldId="2147379895"/>
            <ac:picMk id="35" creationId="{1BE45AD6-14EF-3E2F-AD64-C17968A136BF}"/>
          </ac:picMkLst>
        </pc:picChg>
        <pc:picChg chg="mod">
          <ac:chgData name="Jiang, Nancy" userId="2e38f130-956d-425b-8d6b-1b76a544cfdd" providerId="ADAL" clId="{98A22A67-D799-4041-9A13-2C3ECEAC861D}" dt="2024-12-18T10:24:03.067" v="1295" actId="1076"/>
          <ac:picMkLst>
            <pc:docMk/>
            <pc:sldMk cId="1179203819" sldId="2147379895"/>
            <ac:picMk id="36" creationId="{613595AC-DC8D-3D52-C351-ABE561ECF6E6}"/>
          </ac:picMkLst>
        </pc:picChg>
        <pc:picChg chg="mod">
          <ac:chgData name="Jiang, Nancy" userId="2e38f130-956d-425b-8d6b-1b76a544cfdd" providerId="ADAL" clId="{98A22A67-D799-4041-9A13-2C3ECEAC861D}" dt="2024-12-18T10:24:03.067" v="1295" actId="1076"/>
          <ac:picMkLst>
            <pc:docMk/>
            <pc:sldMk cId="1179203819" sldId="2147379895"/>
            <ac:picMk id="37" creationId="{C6B7A901-2178-7B94-651F-634220252D6D}"/>
          </ac:picMkLst>
        </pc:picChg>
        <pc:picChg chg="mod">
          <ac:chgData name="Jiang, Nancy" userId="2e38f130-956d-425b-8d6b-1b76a544cfdd" providerId="ADAL" clId="{98A22A67-D799-4041-9A13-2C3ECEAC861D}" dt="2024-12-18T10:24:03.067" v="1295" actId="1076"/>
          <ac:picMkLst>
            <pc:docMk/>
            <pc:sldMk cId="1179203819" sldId="2147379895"/>
            <ac:picMk id="38" creationId="{9CE5D37B-C809-A538-94BB-2E33FE43AE00}"/>
          </ac:picMkLst>
        </pc:picChg>
        <pc:picChg chg="mod">
          <ac:chgData name="Jiang, Nancy" userId="2e38f130-956d-425b-8d6b-1b76a544cfdd" providerId="ADAL" clId="{98A22A67-D799-4041-9A13-2C3ECEAC861D}" dt="2024-12-18T10:24:03.067" v="1295" actId="1076"/>
          <ac:picMkLst>
            <pc:docMk/>
            <pc:sldMk cId="1179203819" sldId="2147379895"/>
            <ac:picMk id="39" creationId="{348B04CE-349B-C266-0F69-40824D2CAFA0}"/>
          </ac:picMkLst>
        </pc:picChg>
        <pc:picChg chg="mod">
          <ac:chgData name="Jiang, Nancy" userId="2e38f130-956d-425b-8d6b-1b76a544cfdd" providerId="ADAL" clId="{98A22A67-D799-4041-9A13-2C3ECEAC861D}" dt="2024-12-18T10:24:03.067" v="1295" actId="1076"/>
          <ac:picMkLst>
            <pc:docMk/>
            <pc:sldMk cId="1179203819" sldId="2147379895"/>
            <ac:picMk id="44" creationId="{F9BB96F5-F7DA-F4FE-F03A-524F212B8A1B}"/>
          </ac:picMkLst>
        </pc:picChg>
        <pc:picChg chg="mod">
          <ac:chgData name="Jiang, Nancy" userId="2e38f130-956d-425b-8d6b-1b76a544cfdd" providerId="ADAL" clId="{98A22A67-D799-4041-9A13-2C3ECEAC861D}" dt="2024-12-18T10:24:03.067" v="1295" actId="1076"/>
          <ac:picMkLst>
            <pc:docMk/>
            <pc:sldMk cId="1179203819" sldId="2147379895"/>
            <ac:picMk id="51" creationId="{14E21459-41D0-6B37-7151-8182D2F8F4B0}"/>
          </ac:picMkLst>
        </pc:picChg>
        <pc:picChg chg="del mod">
          <ac:chgData name="Jiang, Nancy" userId="2e38f130-956d-425b-8d6b-1b76a544cfdd" providerId="ADAL" clId="{98A22A67-D799-4041-9A13-2C3ECEAC861D}" dt="2024-12-18T10:18:43.452" v="1287" actId="478"/>
          <ac:picMkLst>
            <pc:docMk/>
            <pc:sldMk cId="1179203819" sldId="2147379895"/>
            <ac:picMk id="55" creationId="{F7A082EE-718A-5AE8-8EBD-B988AF4E28AE}"/>
          </ac:picMkLst>
        </pc:picChg>
        <pc:picChg chg="mod">
          <ac:chgData name="Jiang, Nancy" userId="2e38f130-956d-425b-8d6b-1b76a544cfdd" providerId="ADAL" clId="{98A22A67-D799-4041-9A13-2C3ECEAC861D}" dt="2024-12-18T10:24:03.067" v="1295" actId="1076"/>
          <ac:picMkLst>
            <pc:docMk/>
            <pc:sldMk cId="1179203819" sldId="2147379895"/>
            <ac:picMk id="56" creationId="{C61178FB-D648-3BD2-4731-0AC2AE06D8B9}"/>
          </ac:picMkLst>
        </pc:picChg>
        <pc:picChg chg="mod">
          <ac:chgData name="Jiang, Nancy" userId="2e38f130-956d-425b-8d6b-1b76a544cfdd" providerId="ADAL" clId="{98A22A67-D799-4041-9A13-2C3ECEAC861D}" dt="2024-12-18T10:24:03.067" v="1295" actId="1076"/>
          <ac:picMkLst>
            <pc:docMk/>
            <pc:sldMk cId="1179203819" sldId="2147379895"/>
            <ac:picMk id="57" creationId="{AE6765A1-5172-DF2A-F6A0-D8CD21390C87}"/>
          </ac:picMkLst>
        </pc:picChg>
        <pc:picChg chg="mod">
          <ac:chgData name="Jiang, Nancy" userId="2e38f130-956d-425b-8d6b-1b76a544cfdd" providerId="ADAL" clId="{98A22A67-D799-4041-9A13-2C3ECEAC861D}" dt="2024-12-18T10:24:03.067" v="1295" actId="1076"/>
          <ac:picMkLst>
            <pc:docMk/>
            <pc:sldMk cId="1179203819" sldId="2147379895"/>
            <ac:picMk id="58" creationId="{853E1F17-6480-260B-4322-6D66098CF2F8}"/>
          </ac:picMkLst>
        </pc:picChg>
        <pc:picChg chg="add mod">
          <ac:chgData name="Jiang, Nancy" userId="2e38f130-956d-425b-8d6b-1b76a544cfdd" providerId="ADAL" clId="{98A22A67-D799-4041-9A13-2C3ECEAC861D}" dt="2024-12-18T10:29:24.195" v="1412" actId="1076"/>
          <ac:picMkLst>
            <pc:docMk/>
            <pc:sldMk cId="1179203819" sldId="2147379895"/>
            <ac:picMk id="67" creationId="{21EB0B62-2D70-1724-AFA0-6BA54E776001}"/>
          </ac:picMkLst>
        </pc:picChg>
        <pc:cxnChg chg="mod">
          <ac:chgData name="Jiang, Nancy" userId="2e38f130-956d-425b-8d6b-1b76a544cfdd" providerId="ADAL" clId="{98A22A67-D799-4041-9A13-2C3ECEAC861D}" dt="2024-12-18T10:24:24.729" v="1300" actId="1076"/>
          <ac:cxnSpMkLst>
            <pc:docMk/>
            <pc:sldMk cId="1179203819" sldId="2147379895"/>
            <ac:cxnSpMk id="11" creationId="{10D11D09-1679-1D8B-CE6F-0A88EF9252E4}"/>
          </ac:cxnSpMkLst>
        </pc:cxnChg>
        <pc:cxnChg chg="mod">
          <ac:chgData name="Jiang, Nancy" userId="2e38f130-956d-425b-8d6b-1b76a544cfdd" providerId="ADAL" clId="{98A22A67-D799-4041-9A13-2C3ECEAC861D}" dt="2024-12-18T10:24:24.729" v="1300" actId="1076"/>
          <ac:cxnSpMkLst>
            <pc:docMk/>
            <pc:sldMk cId="1179203819" sldId="2147379895"/>
            <ac:cxnSpMk id="12" creationId="{5900293C-51CC-1C11-6760-05A70303BC65}"/>
          </ac:cxnSpMkLst>
        </pc:cxnChg>
        <pc:cxnChg chg="mod">
          <ac:chgData name="Jiang, Nancy" userId="2e38f130-956d-425b-8d6b-1b76a544cfdd" providerId="ADAL" clId="{98A22A67-D799-4041-9A13-2C3ECEAC861D}" dt="2024-12-18T10:24:24.729" v="1300" actId="1076"/>
          <ac:cxnSpMkLst>
            <pc:docMk/>
            <pc:sldMk cId="1179203819" sldId="2147379895"/>
            <ac:cxnSpMk id="13" creationId="{4E98F942-4770-0E9A-8D33-C5EC5C47C75E}"/>
          </ac:cxnSpMkLst>
        </pc:cxnChg>
        <pc:cxnChg chg="mod">
          <ac:chgData name="Jiang, Nancy" userId="2e38f130-956d-425b-8d6b-1b76a544cfdd" providerId="ADAL" clId="{98A22A67-D799-4041-9A13-2C3ECEAC861D}" dt="2024-12-18T10:24:24.729" v="1300" actId="1076"/>
          <ac:cxnSpMkLst>
            <pc:docMk/>
            <pc:sldMk cId="1179203819" sldId="2147379895"/>
            <ac:cxnSpMk id="14" creationId="{5ACA1E7D-0ABD-8D1C-248E-9F0FE16F8E82}"/>
          </ac:cxnSpMkLst>
        </pc:cxnChg>
        <pc:cxnChg chg="mod">
          <ac:chgData name="Jiang, Nancy" userId="2e38f130-956d-425b-8d6b-1b76a544cfdd" providerId="ADAL" clId="{98A22A67-D799-4041-9A13-2C3ECEAC861D}" dt="2024-12-18T10:24:24.729" v="1300" actId="1076"/>
          <ac:cxnSpMkLst>
            <pc:docMk/>
            <pc:sldMk cId="1179203819" sldId="2147379895"/>
            <ac:cxnSpMk id="16" creationId="{2B1FE55B-1F48-AA0D-8FEE-93AE57F89AC7}"/>
          </ac:cxnSpMkLst>
        </pc:cxnChg>
        <pc:cxnChg chg="mod">
          <ac:chgData name="Jiang, Nancy" userId="2e38f130-956d-425b-8d6b-1b76a544cfdd" providerId="ADAL" clId="{98A22A67-D799-4041-9A13-2C3ECEAC861D}" dt="2024-12-18T10:24:24.729" v="1300" actId="1076"/>
          <ac:cxnSpMkLst>
            <pc:docMk/>
            <pc:sldMk cId="1179203819" sldId="2147379895"/>
            <ac:cxnSpMk id="17" creationId="{1626C9DE-63C3-6F6D-753D-F4FC85D42036}"/>
          </ac:cxnSpMkLst>
        </pc:cxnChg>
        <pc:cxnChg chg="mod">
          <ac:chgData name="Jiang, Nancy" userId="2e38f130-956d-425b-8d6b-1b76a544cfdd" providerId="ADAL" clId="{98A22A67-D799-4041-9A13-2C3ECEAC861D}" dt="2024-12-18T10:24:24.729" v="1300" actId="1076"/>
          <ac:cxnSpMkLst>
            <pc:docMk/>
            <pc:sldMk cId="1179203819" sldId="2147379895"/>
            <ac:cxnSpMk id="27" creationId="{033A5CD6-287B-5351-EA50-1DC2A27F5D16}"/>
          </ac:cxnSpMkLst>
        </pc:cxnChg>
        <pc:cxnChg chg="mod">
          <ac:chgData name="Jiang, Nancy" userId="2e38f130-956d-425b-8d6b-1b76a544cfdd" providerId="ADAL" clId="{98A22A67-D799-4041-9A13-2C3ECEAC861D}" dt="2024-12-18T10:24:03.067" v="1295" actId="1076"/>
          <ac:cxnSpMkLst>
            <pc:docMk/>
            <pc:sldMk cId="1179203819" sldId="2147379895"/>
            <ac:cxnSpMk id="40" creationId="{D34D644D-CEBD-80F7-0A08-AE1A6AEE5C30}"/>
          </ac:cxnSpMkLst>
        </pc:cxnChg>
        <pc:cxnChg chg="mod">
          <ac:chgData name="Jiang, Nancy" userId="2e38f130-956d-425b-8d6b-1b76a544cfdd" providerId="ADAL" clId="{98A22A67-D799-4041-9A13-2C3ECEAC861D}" dt="2024-12-18T10:24:03.067" v="1295" actId="1076"/>
          <ac:cxnSpMkLst>
            <pc:docMk/>
            <pc:sldMk cId="1179203819" sldId="2147379895"/>
            <ac:cxnSpMk id="41" creationId="{36B8E6EE-36E5-53B0-4C71-3CFB20A9DFD9}"/>
          </ac:cxnSpMkLst>
        </pc:cxnChg>
        <pc:cxnChg chg="mod">
          <ac:chgData name="Jiang, Nancy" userId="2e38f130-956d-425b-8d6b-1b76a544cfdd" providerId="ADAL" clId="{98A22A67-D799-4041-9A13-2C3ECEAC861D}" dt="2024-12-18T10:24:03.067" v="1295" actId="1076"/>
          <ac:cxnSpMkLst>
            <pc:docMk/>
            <pc:sldMk cId="1179203819" sldId="2147379895"/>
            <ac:cxnSpMk id="42" creationId="{9FB1B8DC-09AD-9B61-2512-9F40879FD13D}"/>
          </ac:cxnSpMkLst>
        </pc:cxnChg>
        <pc:cxnChg chg="mod">
          <ac:chgData name="Jiang, Nancy" userId="2e38f130-956d-425b-8d6b-1b76a544cfdd" providerId="ADAL" clId="{98A22A67-D799-4041-9A13-2C3ECEAC861D}" dt="2024-12-18T10:24:03.067" v="1295" actId="1076"/>
          <ac:cxnSpMkLst>
            <pc:docMk/>
            <pc:sldMk cId="1179203819" sldId="2147379895"/>
            <ac:cxnSpMk id="43" creationId="{7F4DB0C3-7B9F-FE21-DB59-43AFF3CE58BD}"/>
          </ac:cxnSpMkLst>
        </pc:cxnChg>
        <pc:cxnChg chg="mod">
          <ac:chgData name="Jiang, Nancy" userId="2e38f130-956d-425b-8d6b-1b76a544cfdd" providerId="ADAL" clId="{98A22A67-D799-4041-9A13-2C3ECEAC861D}" dt="2024-12-18T10:24:03.067" v="1295" actId="1076"/>
          <ac:cxnSpMkLst>
            <pc:docMk/>
            <pc:sldMk cId="1179203819" sldId="2147379895"/>
            <ac:cxnSpMk id="53" creationId="{E0F64D81-78C7-3B88-EDAC-78695BA90550}"/>
          </ac:cxnSpMkLst>
        </pc:cxnChg>
        <pc:cxnChg chg="mod">
          <ac:chgData name="Jiang, Nancy" userId="2e38f130-956d-425b-8d6b-1b76a544cfdd" providerId="ADAL" clId="{98A22A67-D799-4041-9A13-2C3ECEAC861D}" dt="2024-12-18T10:24:03.067" v="1295" actId="1076"/>
          <ac:cxnSpMkLst>
            <pc:docMk/>
            <pc:sldMk cId="1179203819" sldId="2147379895"/>
            <ac:cxnSpMk id="54" creationId="{1E4084EA-7204-9B52-D43C-869FEC185556}"/>
          </ac:cxnSpMkLst>
        </pc:cxnChg>
      </pc:sldChg>
      <pc:sldChg chg="addSp delSp modSp new mod">
        <pc:chgData name="Jiang, Nancy" userId="2e38f130-956d-425b-8d6b-1b76a544cfdd" providerId="ADAL" clId="{98A22A67-D799-4041-9A13-2C3ECEAC861D}" dt="2024-12-19T08:12:19.973" v="3757" actId="478"/>
        <pc:sldMkLst>
          <pc:docMk/>
          <pc:sldMk cId="164053429" sldId="2147379896"/>
        </pc:sldMkLst>
        <pc:spChg chg="mod">
          <ac:chgData name="Jiang, Nancy" userId="2e38f130-956d-425b-8d6b-1b76a544cfdd" providerId="ADAL" clId="{98A22A67-D799-4041-9A13-2C3ECEAC861D}" dt="2024-12-18T10:27:58.794" v="1373" actId="1076"/>
          <ac:spMkLst>
            <pc:docMk/>
            <pc:sldMk cId="164053429" sldId="2147379896"/>
            <ac:spMk id="2" creationId="{1C77404F-EF4F-481C-977F-2303F12382C6}"/>
          </ac:spMkLst>
        </pc:spChg>
        <pc:spChg chg="del">
          <ac:chgData name="Jiang, Nancy" userId="2e38f130-956d-425b-8d6b-1b76a544cfdd" providerId="ADAL" clId="{98A22A67-D799-4041-9A13-2C3ECEAC861D}" dt="2024-12-18T10:27:18.013" v="1359" actId="478"/>
          <ac:spMkLst>
            <pc:docMk/>
            <pc:sldMk cId="164053429" sldId="2147379896"/>
            <ac:spMk id="4" creationId="{803A6858-2093-CD59-0CA2-A5D62654D0EF}"/>
          </ac:spMkLst>
        </pc:spChg>
        <pc:spChg chg="del mod">
          <ac:chgData name="Jiang, Nancy" userId="2e38f130-956d-425b-8d6b-1b76a544cfdd" providerId="ADAL" clId="{98A22A67-D799-4041-9A13-2C3ECEAC861D}" dt="2024-12-19T08:12:19.973" v="3757" actId="478"/>
          <ac:spMkLst>
            <pc:docMk/>
            <pc:sldMk cId="164053429" sldId="2147379896"/>
            <ac:spMk id="7" creationId="{CBFA3E95-77A4-3E93-C4B4-28382EB80DCE}"/>
          </ac:spMkLst>
        </pc:spChg>
        <pc:spChg chg="del mod">
          <ac:chgData name="Jiang, Nancy" userId="2e38f130-956d-425b-8d6b-1b76a544cfdd" providerId="ADAL" clId="{98A22A67-D799-4041-9A13-2C3ECEAC861D}" dt="2024-12-19T08:12:15.742" v="3756" actId="478"/>
          <ac:spMkLst>
            <pc:docMk/>
            <pc:sldMk cId="164053429" sldId="2147379896"/>
            <ac:spMk id="8" creationId="{54268EDB-471D-EA0D-576B-08530498B4E8}"/>
          </ac:spMkLst>
        </pc:spChg>
        <pc:spChg chg="mod">
          <ac:chgData name="Jiang, Nancy" userId="2e38f130-956d-425b-8d6b-1b76a544cfdd" providerId="ADAL" clId="{98A22A67-D799-4041-9A13-2C3ECEAC861D}" dt="2024-12-18T10:27:37.320" v="1367" actId="1076"/>
          <ac:spMkLst>
            <pc:docMk/>
            <pc:sldMk cId="164053429" sldId="2147379896"/>
            <ac:spMk id="9" creationId="{0AA2720E-4E68-375A-EA6D-77D3761F536D}"/>
          </ac:spMkLst>
        </pc:spChg>
        <pc:spChg chg="mod">
          <ac:chgData name="Jiang, Nancy" userId="2e38f130-956d-425b-8d6b-1b76a544cfdd" providerId="ADAL" clId="{98A22A67-D799-4041-9A13-2C3ECEAC861D}" dt="2024-12-18T10:27:37.320" v="1367" actId="1076"/>
          <ac:spMkLst>
            <pc:docMk/>
            <pc:sldMk cId="164053429" sldId="2147379896"/>
            <ac:spMk id="10" creationId="{C32FCB68-7CD5-9F8C-40B3-8CF127C82459}"/>
          </ac:spMkLst>
        </pc:spChg>
        <pc:spChg chg="mod">
          <ac:chgData name="Jiang, Nancy" userId="2e38f130-956d-425b-8d6b-1b76a544cfdd" providerId="ADAL" clId="{98A22A67-D799-4041-9A13-2C3ECEAC861D}" dt="2024-12-18T10:27:37.320" v="1367" actId="1076"/>
          <ac:spMkLst>
            <pc:docMk/>
            <pc:sldMk cId="164053429" sldId="2147379896"/>
            <ac:spMk id="22" creationId="{71902AD6-1CC4-A35E-B218-346E6715594E}"/>
          </ac:spMkLst>
        </pc:spChg>
        <pc:spChg chg="mod">
          <ac:chgData name="Jiang, Nancy" userId="2e38f130-956d-425b-8d6b-1b76a544cfdd" providerId="ADAL" clId="{98A22A67-D799-4041-9A13-2C3ECEAC861D}" dt="2024-12-18T10:27:37.320" v="1367" actId="1076"/>
          <ac:spMkLst>
            <pc:docMk/>
            <pc:sldMk cId="164053429" sldId="2147379896"/>
            <ac:spMk id="23" creationId="{E40A0C8F-70D9-C7EF-2645-6F3B343D2314}"/>
          </ac:spMkLst>
        </pc:spChg>
        <pc:spChg chg="mod">
          <ac:chgData name="Jiang, Nancy" userId="2e38f130-956d-425b-8d6b-1b76a544cfdd" providerId="ADAL" clId="{98A22A67-D799-4041-9A13-2C3ECEAC861D}" dt="2024-12-18T10:27:37.320" v="1367" actId="1076"/>
          <ac:spMkLst>
            <pc:docMk/>
            <pc:sldMk cId="164053429" sldId="2147379896"/>
            <ac:spMk id="24" creationId="{6D93933F-4910-A1B3-AE5B-7A08C0A970E7}"/>
          </ac:spMkLst>
        </pc:spChg>
        <pc:spChg chg="mod">
          <ac:chgData name="Jiang, Nancy" userId="2e38f130-956d-425b-8d6b-1b76a544cfdd" providerId="ADAL" clId="{98A22A67-D799-4041-9A13-2C3ECEAC861D}" dt="2024-12-18T10:27:37.320" v="1367" actId="1076"/>
          <ac:spMkLst>
            <pc:docMk/>
            <pc:sldMk cId="164053429" sldId="2147379896"/>
            <ac:spMk id="25" creationId="{7D6D4F48-17D1-E077-8F34-2A558D406285}"/>
          </ac:spMkLst>
        </pc:spChg>
        <pc:spChg chg="mod">
          <ac:chgData name="Jiang, Nancy" userId="2e38f130-956d-425b-8d6b-1b76a544cfdd" providerId="ADAL" clId="{98A22A67-D799-4041-9A13-2C3ECEAC861D}" dt="2024-12-18T10:27:37.320" v="1367" actId="1076"/>
          <ac:spMkLst>
            <pc:docMk/>
            <pc:sldMk cId="164053429" sldId="2147379896"/>
            <ac:spMk id="26" creationId="{42489A38-2A33-5F84-7E48-F7EA523CF26A}"/>
          </ac:spMkLst>
        </pc:spChg>
        <pc:spChg chg="mod">
          <ac:chgData name="Jiang, Nancy" userId="2e38f130-956d-425b-8d6b-1b76a544cfdd" providerId="ADAL" clId="{98A22A67-D799-4041-9A13-2C3ECEAC861D}" dt="2024-12-18T10:27:37.320" v="1367" actId="1076"/>
          <ac:spMkLst>
            <pc:docMk/>
            <pc:sldMk cId="164053429" sldId="2147379896"/>
            <ac:spMk id="27" creationId="{20C5BA1F-B03D-384A-DE2A-ACD805813117}"/>
          </ac:spMkLst>
        </pc:spChg>
        <pc:spChg chg="mod">
          <ac:chgData name="Jiang, Nancy" userId="2e38f130-956d-425b-8d6b-1b76a544cfdd" providerId="ADAL" clId="{98A22A67-D799-4041-9A13-2C3ECEAC861D}" dt="2024-12-18T10:27:37.320" v="1367" actId="1076"/>
          <ac:spMkLst>
            <pc:docMk/>
            <pc:sldMk cId="164053429" sldId="2147379896"/>
            <ac:spMk id="29" creationId="{64D1EB92-A037-C35C-5511-67129C946078}"/>
          </ac:spMkLst>
        </pc:spChg>
        <pc:spChg chg="mod">
          <ac:chgData name="Jiang, Nancy" userId="2e38f130-956d-425b-8d6b-1b76a544cfdd" providerId="ADAL" clId="{98A22A67-D799-4041-9A13-2C3ECEAC861D}" dt="2024-12-18T10:27:54.720" v="1372" actId="1076"/>
          <ac:spMkLst>
            <pc:docMk/>
            <pc:sldMk cId="164053429" sldId="2147379896"/>
            <ac:spMk id="40" creationId="{084B6ACE-710C-8184-AD83-F0F5F8586041}"/>
          </ac:spMkLst>
        </pc:spChg>
        <pc:spChg chg="mod">
          <ac:chgData name="Jiang, Nancy" userId="2e38f130-956d-425b-8d6b-1b76a544cfdd" providerId="ADAL" clId="{98A22A67-D799-4041-9A13-2C3ECEAC861D}" dt="2024-12-18T10:27:54.720" v="1372" actId="1076"/>
          <ac:spMkLst>
            <pc:docMk/>
            <pc:sldMk cId="164053429" sldId="2147379896"/>
            <ac:spMk id="41" creationId="{86DAD457-AF14-37E5-9CB2-ECB0AA9E36FB}"/>
          </ac:spMkLst>
        </pc:spChg>
        <pc:spChg chg="mod">
          <ac:chgData name="Jiang, Nancy" userId="2e38f130-956d-425b-8d6b-1b76a544cfdd" providerId="ADAL" clId="{98A22A67-D799-4041-9A13-2C3ECEAC861D}" dt="2024-12-18T10:27:54.720" v="1372" actId="1076"/>
          <ac:spMkLst>
            <pc:docMk/>
            <pc:sldMk cId="164053429" sldId="2147379896"/>
            <ac:spMk id="42" creationId="{A6F367AC-6C26-DC07-FE2A-43D45F2B598F}"/>
          </ac:spMkLst>
        </pc:spChg>
        <pc:spChg chg="mod">
          <ac:chgData name="Jiang, Nancy" userId="2e38f130-956d-425b-8d6b-1b76a544cfdd" providerId="ADAL" clId="{98A22A67-D799-4041-9A13-2C3ECEAC861D}" dt="2024-12-18T10:27:54.720" v="1372" actId="1076"/>
          <ac:spMkLst>
            <pc:docMk/>
            <pc:sldMk cId="164053429" sldId="2147379896"/>
            <ac:spMk id="43" creationId="{72B4D9C4-444F-E079-B11B-535F05C2C01D}"/>
          </ac:spMkLst>
        </pc:spChg>
        <pc:spChg chg="mod">
          <ac:chgData name="Jiang, Nancy" userId="2e38f130-956d-425b-8d6b-1b76a544cfdd" providerId="ADAL" clId="{98A22A67-D799-4041-9A13-2C3ECEAC861D}" dt="2024-12-18T10:27:54.720" v="1372" actId="1076"/>
          <ac:spMkLst>
            <pc:docMk/>
            <pc:sldMk cId="164053429" sldId="2147379896"/>
            <ac:spMk id="57" creationId="{CA985B88-0528-4EC0-1A52-787FBB3062B9}"/>
          </ac:spMkLst>
        </pc:spChg>
        <pc:spChg chg="mod">
          <ac:chgData name="Jiang, Nancy" userId="2e38f130-956d-425b-8d6b-1b76a544cfdd" providerId="ADAL" clId="{98A22A67-D799-4041-9A13-2C3ECEAC861D}" dt="2024-12-18T10:27:54.720" v="1372" actId="1076"/>
          <ac:spMkLst>
            <pc:docMk/>
            <pc:sldMk cId="164053429" sldId="2147379896"/>
            <ac:spMk id="58" creationId="{97067F3B-8F2C-9FBD-EBBA-8349199A9282}"/>
          </ac:spMkLst>
        </pc:spChg>
        <pc:spChg chg="mod">
          <ac:chgData name="Jiang, Nancy" userId="2e38f130-956d-425b-8d6b-1b76a544cfdd" providerId="ADAL" clId="{98A22A67-D799-4041-9A13-2C3ECEAC861D}" dt="2024-12-18T10:27:54.720" v="1372" actId="1076"/>
          <ac:spMkLst>
            <pc:docMk/>
            <pc:sldMk cId="164053429" sldId="2147379896"/>
            <ac:spMk id="59" creationId="{39C5815C-8DE4-FCDE-3A79-0BC4C708DEDF}"/>
          </ac:spMkLst>
        </pc:spChg>
        <pc:spChg chg="mod">
          <ac:chgData name="Jiang, Nancy" userId="2e38f130-956d-425b-8d6b-1b76a544cfdd" providerId="ADAL" clId="{98A22A67-D799-4041-9A13-2C3ECEAC861D}" dt="2024-12-18T10:27:54.720" v="1372" actId="1076"/>
          <ac:spMkLst>
            <pc:docMk/>
            <pc:sldMk cId="164053429" sldId="2147379896"/>
            <ac:spMk id="60" creationId="{AB7A5D6F-20A3-8AB1-D154-7A897A5F2FF9}"/>
          </ac:spMkLst>
        </pc:spChg>
        <pc:spChg chg="mod">
          <ac:chgData name="Jiang, Nancy" userId="2e38f130-956d-425b-8d6b-1b76a544cfdd" providerId="ADAL" clId="{98A22A67-D799-4041-9A13-2C3ECEAC861D}" dt="2024-12-18T10:27:54.720" v="1372" actId="1076"/>
          <ac:spMkLst>
            <pc:docMk/>
            <pc:sldMk cId="164053429" sldId="2147379896"/>
            <ac:spMk id="61" creationId="{642064F9-1E85-5C9B-05BD-CDCB3F342EE1}"/>
          </ac:spMkLst>
        </pc:spChg>
        <pc:spChg chg="mod">
          <ac:chgData name="Jiang, Nancy" userId="2e38f130-956d-425b-8d6b-1b76a544cfdd" providerId="ADAL" clId="{98A22A67-D799-4041-9A13-2C3ECEAC861D}" dt="2024-12-18T10:27:54.720" v="1372" actId="1076"/>
          <ac:spMkLst>
            <pc:docMk/>
            <pc:sldMk cId="164053429" sldId="2147379896"/>
            <ac:spMk id="62" creationId="{9E94B971-6377-AA2E-ED16-D388F9D10817}"/>
          </ac:spMkLst>
        </pc:spChg>
        <pc:spChg chg="mod">
          <ac:chgData name="Jiang, Nancy" userId="2e38f130-956d-425b-8d6b-1b76a544cfdd" providerId="ADAL" clId="{98A22A67-D799-4041-9A13-2C3ECEAC861D}" dt="2024-12-18T10:27:54.720" v="1372" actId="1076"/>
          <ac:spMkLst>
            <pc:docMk/>
            <pc:sldMk cId="164053429" sldId="2147379896"/>
            <ac:spMk id="64" creationId="{12510FE7-0BCF-CCDC-30E4-59D378ED4E28}"/>
          </ac:spMkLst>
        </pc:spChg>
        <pc:spChg chg="add mod">
          <ac:chgData name="Jiang, Nancy" userId="2e38f130-956d-425b-8d6b-1b76a544cfdd" providerId="ADAL" clId="{98A22A67-D799-4041-9A13-2C3ECEAC861D}" dt="2024-12-18T10:28:17.438" v="1389" actId="20577"/>
          <ac:spMkLst>
            <pc:docMk/>
            <pc:sldMk cId="164053429" sldId="2147379896"/>
            <ac:spMk id="69" creationId="{1F328697-AA94-149D-55D9-D97D37037819}"/>
          </ac:spMkLst>
        </pc:spChg>
        <pc:spChg chg="add mod">
          <ac:chgData name="Jiang, Nancy" userId="2e38f130-956d-425b-8d6b-1b76a544cfdd" providerId="ADAL" clId="{98A22A67-D799-4041-9A13-2C3ECEAC861D}" dt="2024-12-18T10:28:24.183" v="1393" actId="20577"/>
          <ac:spMkLst>
            <pc:docMk/>
            <pc:sldMk cId="164053429" sldId="2147379896"/>
            <ac:spMk id="70" creationId="{BC3469F8-D616-AF9F-981A-6A790A561523}"/>
          </ac:spMkLst>
        </pc:spChg>
        <pc:grpChg chg="add mod">
          <ac:chgData name="Jiang, Nancy" userId="2e38f130-956d-425b-8d6b-1b76a544cfdd" providerId="ADAL" clId="{98A22A67-D799-4041-9A13-2C3ECEAC861D}" dt="2024-12-18T10:27:37.320" v="1367" actId="1076"/>
          <ac:grpSpMkLst>
            <pc:docMk/>
            <pc:sldMk cId="164053429" sldId="2147379896"/>
            <ac:grpSpMk id="5" creationId="{3739E5C2-85E3-D40D-515D-30F5F99A0B30}"/>
          </ac:grpSpMkLst>
        </pc:grpChg>
        <pc:grpChg chg="mod">
          <ac:chgData name="Jiang, Nancy" userId="2e38f130-956d-425b-8d6b-1b76a544cfdd" providerId="ADAL" clId="{98A22A67-D799-4041-9A13-2C3ECEAC861D}" dt="2024-12-18T10:27:37.320" v="1367" actId="1076"/>
          <ac:grpSpMkLst>
            <pc:docMk/>
            <pc:sldMk cId="164053429" sldId="2147379896"/>
            <ac:grpSpMk id="6" creationId="{03823F99-A6F3-6D55-EA23-EB77509E2639}"/>
          </ac:grpSpMkLst>
        </pc:grpChg>
        <pc:grpChg chg="add mod">
          <ac:chgData name="Jiang, Nancy" userId="2e38f130-956d-425b-8d6b-1b76a544cfdd" providerId="ADAL" clId="{98A22A67-D799-4041-9A13-2C3ECEAC861D}" dt="2024-12-18T10:27:54.720" v="1372" actId="1076"/>
          <ac:grpSpMkLst>
            <pc:docMk/>
            <pc:sldMk cId="164053429" sldId="2147379896"/>
            <ac:grpSpMk id="36" creationId="{F476EEED-97BF-575E-51D2-9B256226F887}"/>
          </ac:grpSpMkLst>
        </pc:grpChg>
        <pc:grpChg chg="mod">
          <ac:chgData name="Jiang, Nancy" userId="2e38f130-956d-425b-8d6b-1b76a544cfdd" providerId="ADAL" clId="{98A22A67-D799-4041-9A13-2C3ECEAC861D}" dt="2024-12-18T10:27:54.720" v="1372" actId="1076"/>
          <ac:grpSpMkLst>
            <pc:docMk/>
            <pc:sldMk cId="164053429" sldId="2147379896"/>
            <ac:grpSpMk id="37" creationId="{889F3F96-EC69-E100-6B54-675D3E8B3434}"/>
          </ac:grpSpMkLst>
        </pc:grpChg>
        <pc:picChg chg="mod">
          <ac:chgData name="Jiang, Nancy" userId="2e38f130-956d-425b-8d6b-1b76a544cfdd" providerId="ADAL" clId="{98A22A67-D799-4041-9A13-2C3ECEAC861D}" dt="2024-12-18T10:27:37.320" v="1367" actId="1076"/>
          <ac:picMkLst>
            <pc:docMk/>
            <pc:sldMk cId="164053429" sldId="2147379896"/>
            <ac:picMk id="11" creationId="{30C6A328-0A93-A3D5-BF96-B1649E723B69}"/>
          </ac:picMkLst>
        </pc:picChg>
        <pc:picChg chg="mod">
          <ac:chgData name="Jiang, Nancy" userId="2e38f130-956d-425b-8d6b-1b76a544cfdd" providerId="ADAL" clId="{98A22A67-D799-4041-9A13-2C3ECEAC861D}" dt="2024-12-18T10:27:37.320" v="1367" actId="1076"/>
          <ac:picMkLst>
            <pc:docMk/>
            <pc:sldMk cId="164053429" sldId="2147379896"/>
            <ac:picMk id="12" creationId="{453EDA26-99A8-A253-C5A3-56CE30062F33}"/>
          </ac:picMkLst>
        </pc:picChg>
        <pc:picChg chg="mod">
          <ac:chgData name="Jiang, Nancy" userId="2e38f130-956d-425b-8d6b-1b76a544cfdd" providerId="ADAL" clId="{98A22A67-D799-4041-9A13-2C3ECEAC861D}" dt="2024-12-18T10:27:37.320" v="1367" actId="1076"/>
          <ac:picMkLst>
            <pc:docMk/>
            <pc:sldMk cId="164053429" sldId="2147379896"/>
            <ac:picMk id="13" creationId="{51ED6B1E-CB3E-83EB-ED42-F800EED4BC30}"/>
          </ac:picMkLst>
        </pc:picChg>
        <pc:picChg chg="mod">
          <ac:chgData name="Jiang, Nancy" userId="2e38f130-956d-425b-8d6b-1b76a544cfdd" providerId="ADAL" clId="{98A22A67-D799-4041-9A13-2C3ECEAC861D}" dt="2024-12-18T10:27:37.320" v="1367" actId="1076"/>
          <ac:picMkLst>
            <pc:docMk/>
            <pc:sldMk cId="164053429" sldId="2147379896"/>
            <ac:picMk id="14" creationId="{E1862419-F73C-4700-BADA-D4A5ADAEEDA9}"/>
          </ac:picMkLst>
        </pc:picChg>
        <pc:picChg chg="mod">
          <ac:chgData name="Jiang, Nancy" userId="2e38f130-956d-425b-8d6b-1b76a544cfdd" providerId="ADAL" clId="{98A22A67-D799-4041-9A13-2C3ECEAC861D}" dt="2024-12-18T10:27:37.320" v="1367" actId="1076"/>
          <ac:picMkLst>
            <pc:docMk/>
            <pc:sldMk cId="164053429" sldId="2147379896"/>
            <ac:picMk id="15" creationId="{F13E80C7-A0A4-F2F6-C36C-648726A16A2E}"/>
          </ac:picMkLst>
        </pc:picChg>
        <pc:picChg chg="mod">
          <ac:chgData name="Jiang, Nancy" userId="2e38f130-956d-425b-8d6b-1b76a544cfdd" providerId="ADAL" clId="{98A22A67-D799-4041-9A13-2C3ECEAC861D}" dt="2024-12-18T10:27:37.320" v="1367" actId="1076"/>
          <ac:picMkLst>
            <pc:docMk/>
            <pc:sldMk cId="164053429" sldId="2147379896"/>
            <ac:picMk id="16" creationId="{9E5F116D-6DE1-4A56-3026-3E9B2738FD12}"/>
          </ac:picMkLst>
        </pc:picChg>
        <pc:picChg chg="mod">
          <ac:chgData name="Jiang, Nancy" userId="2e38f130-956d-425b-8d6b-1b76a544cfdd" providerId="ADAL" clId="{98A22A67-D799-4041-9A13-2C3ECEAC861D}" dt="2024-12-18T10:27:37.320" v="1367" actId="1076"/>
          <ac:picMkLst>
            <pc:docMk/>
            <pc:sldMk cId="164053429" sldId="2147379896"/>
            <ac:picMk id="21" creationId="{C8BADDF9-41A1-CE64-1C42-1D8359D13B83}"/>
          </ac:picMkLst>
        </pc:picChg>
        <pc:picChg chg="mod">
          <ac:chgData name="Jiang, Nancy" userId="2e38f130-956d-425b-8d6b-1b76a544cfdd" providerId="ADAL" clId="{98A22A67-D799-4041-9A13-2C3ECEAC861D}" dt="2024-12-18T10:27:37.320" v="1367" actId="1076"/>
          <ac:picMkLst>
            <pc:docMk/>
            <pc:sldMk cId="164053429" sldId="2147379896"/>
            <ac:picMk id="28" creationId="{CA62AA2D-3B0B-5DE0-C0D6-2EE4AFCA188A}"/>
          </ac:picMkLst>
        </pc:picChg>
        <pc:picChg chg="mod">
          <ac:chgData name="Jiang, Nancy" userId="2e38f130-956d-425b-8d6b-1b76a544cfdd" providerId="ADAL" clId="{98A22A67-D799-4041-9A13-2C3ECEAC861D}" dt="2024-12-18T10:27:37.320" v="1367" actId="1076"/>
          <ac:picMkLst>
            <pc:docMk/>
            <pc:sldMk cId="164053429" sldId="2147379896"/>
            <ac:picMk id="32" creationId="{D4F128C0-8C66-BEAD-2DD7-58A453F8DB5E}"/>
          </ac:picMkLst>
        </pc:picChg>
        <pc:picChg chg="mod">
          <ac:chgData name="Jiang, Nancy" userId="2e38f130-956d-425b-8d6b-1b76a544cfdd" providerId="ADAL" clId="{98A22A67-D799-4041-9A13-2C3ECEAC861D}" dt="2024-12-18T10:27:37.320" v="1367" actId="1076"/>
          <ac:picMkLst>
            <pc:docMk/>
            <pc:sldMk cId="164053429" sldId="2147379896"/>
            <ac:picMk id="33" creationId="{BD9985C3-5C89-2E0E-1E45-59180385876B}"/>
          </ac:picMkLst>
        </pc:picChg>
        <pc:picChg chg="mod">
          <ac:chgData name="Jiang, Nancy" userId="2e38f130-956d-425b-8d6b-1b76a544cfdd" providerId="ADAL" clId="{98A22A67-D799-4041-9A13-2C3ECEAC861D}" dt="2024-12-18T10:27:37.320" v="1367" actId="1076"/>
          <ac:picMkLst>
            <pc:docMk/>
            <pc:sldMk cId="164053429" sldId="2147379896"/>
            <ac:picMk id="34" creationId="{7B5AF508-C5BC-0EDA-140A-9944867D9085}"/>
          </ac:picMkLst>
        </pc:picChg>
        <pc:picChg chg="mod">
          <ac:chgData name="Jiang, Nancy" userId="2e38f130-956d-425b-8d6b-1b76a544cfdd" providerId="ADAL" clId="{98A22A67-D799-4041-9A13-2C3ECEAC861D}" dt="2024-12-18T10:27:37.320" v="1367" actId="1076"/>
          <ac:picMkLst>
            <pc:docMk/>
            <pc:sldMk cId="164053429" sldId="2147379896"/>
            <ac:picMk id="35" creationId="{9C1914DD-C644-0F2D-C5C5-C280FB69699F}"/>
          </ac:picMkLst>
        </pc:picChg>
        <pc:picChg chg="mod">
          <ac:chgData name="Jiang, Nancy" userId="2e38f130-956d-425b-8d6b-1b76a544cfdd" providerId="ADAL" clId="{98A22A67-D799-4041-9A13-2C3ECEAC861D}" dt="2024-12-18T10:27:54.720" v="1372" actId="1076"/>
          <ac:picMkLst>
            <pc:docMk/>
            <pc:sldMk cId="164053429" sldId="2147379896"/>
            <ac:picMk id="38" creationId="{784202B0-00E3-A93C-33EE-D6903BEB9B44}"/>
          </ac:picMkLst>
        </pc:picChg>
        <pc:picChg chg="mod">
          <ac:chgData name="Jiang, Nancy" userId="2e38f130-956d-425b-8d6b-1b76a544cfdd" providerId="ADAL" clId="{98A22A67-D799-4041-9A13-2C3ECEAC861D}" dt="2024-12-18T10:27:54.720" v="1372" actId="1076"/>
          <ac:picMkLst>
            <pc:docMk/>
            <pc:sldMk cId="164053429" sldId="2147379896"/>
            <ac:picMk id="39" creationId="{EEBE0E40-0BAF-7FCB-DCA6-E7B4C145A976}"/>
          </ac:picMkLst>
        </pc:picChg>
        <pc:picChg chg="mod">
          <ac:chgData name="Jiang, Nancy" userId="2e38f130-956d-425b-8d6b-1b76a544cfdd" providerId="ADAL" clId="{98A22A67-D799-4041-9A13-2C3ECEAC861D}" dt="2024-12-18T10:27:54.720" v="1372" actId="1076"/>
          <ac:picMkLst>
            <pc:docMk/>
            <pc:sldMk cId="164053429" sldId="2147379896"/>
            <ac:picMk id="44" creationId="{C0D91F96-8772-BB17-3ED4-FDD96EF4FA76}"/>
          </ac:picMkLst>
        </pc:picChg>
        <pc:picChg chg="mod">
          <ac:chgData name="Jiang, Nancy" userId="2e38f130-956d-425b-8d6b-1b76a544cfdd" providerId="ADAL" clId="{98A22A67-D799-4041-9A13-2C3ECEAC861D}" dt="2024-12-18T10:27:54.720" v="1372" actId="1076"/>
          <ac:picMkLst>
            <pc:docMk/>
            <pc:sldMk cId="164053429" sldId="2147379896"/>
            <ac:picMk id="45" creationId="{844E7F4C-00EB-9B8A-92CD-F6E4EC553DAC}"/>
          </ac:picMkLst>
        </pc:picChg>
        <pc:picChg chg="mod">
          <ac:chgData name="Jiang, Nancy" userId="2e38f130-956d-425b-8d6b-1b76a544cfdd" providerId="ADAL" clId="{98A22A67-D799-4041-9A13-2C3ECEAC861D}" dt="2024-12-18T10:27:54.720" v="1372" actId="1076"/>
          <ac:picMkLst>
            <pc:docMk/>
            <pc:sldMk cId="164053429" sldId="2147379896"/>
            <ac:picMk id="46" creationId="{CF3FF72A-35E3-49E8-A931-3F38383FD707}"/>
          </ac:picMkLst>
        </pc:picChg>
        <pc:picChg chg="mod">
          <ac:chgData name="Jiang, Nancy" userId="2e38f130-956d-425b-8d6b-1b76a544cfdd" providerId="ADAL" clId="{98A22A67-D799-4041-9A13-2C3ECEAC861D}" dt="2024-12-18T10:27:54.720" v="1372" actId="1076"/>
          <ac:picMkLst>
            <pc:docMk/>
            <pc:sldMk cId="164053429" sldId="2147379896"/>
            <ac:picMk id="47" creationId="{179BF9B5-9A0E-22AB-FA6E-F3A8072054DD}"/>
          </ac:picMkLst>
        </pc:picChg>
        <pc:picChg chg="mod">
          <ac:chgData name="Jiang, Nancy" userId="2e38f130-956d-425b-8d6b-1b76a544cfdd" providerId="ADAL" clId="{98A22A67-D799-4041-9A13-2C3ECEAC861D}" dt="2024-12-18T10:27:54.720" v="1372" actId="1076"/>
          <ac:picMkLst>
            <pc:docMk/>
            <pc:sldMk cId="164053429" sldId="2147379896"/>
            <ac:picMk id="48" creationId="{3891B7D1-A074-5D0E-B3C7-B13E1CA5CDF3}"/>
          </ac:picMkLst>
        </pc:picChg>
        <pc:picChg chg="mod">
          <ac:chgData name="Jiang, Nancy" userId="2e38f130-956d-425b-8d6b-1b76a544cfdd" providerId="ADAL" clId="{98A22A67-D799-4041-9A13-2C3ECEAC861D}" dt="2024-12-18T10:27:54.720" v="1372" actId="1076"/>
          <ac:picMkLst>
            <pc:docMk/>
            <pc:sldMk cId="164053429" sldId="2147379896"/>
            <ac:picMk id="53" creationId="{8AD75387-B79B-CA49-3944-5AB997B0BE0C}"/>
          </ac:picMkLst>
        </pc:picChg>
        <pc:picChg chg="mod">
          <ac:chgData name="Jiang, Nancy" userId="2e38f130-956d-425b-8d6b-1b76a544cfdd" providerId="ADAL" clId="{98A22A67-D799-4041-9A13-2C3ECEAC861D}" dt="2024-12-18T10:27:54.720" v="1372" actId="1076"/>
          <ac:picMkLst>
            <pc:docMk/>
            <pc:sldMk cId="164053429" sldId="2147379896"/>
            <ac:picMk id="56" creationId="{E4CE2F20-B230-E4BC-DC19-4847506E2B6A}"/>
          </ac:picMkLst>
        </pc:picChg>
        <pc:picChg chg="mod">
          <ac:chgData name="Jiang, Nancy" userId="2e38f130-956d-425b-8d6b-1b76a544cfdd" providerId="ADAL" clId="{98A22A67-D799-4041-9A13-2C3ECEAC861D}" dt="2024-12-18T10:27:54.720" v="1372" actId="1076"/>
          <ac:picMkLst>
            <pc:docMk/>
            <pc:sldMk cId="164053429" sldId="2147379896"/>
            <ac:picMk id="63" creationId="{C800D810-4C37-B5CE-4597-E3D912C8FA4C}"/>
          </ac:picMkLst>
        </pc:picChg>
        <pc:picChg chg="mod">
          <ac:chgData name="Jiang, Nancy" userId="2e38f130-956d-425b-8d6b-1b76a544cfdd" providerId="ADAL" clId="{98A22A67-D799-4041-9A13-2C3ECEAC861D}" dt="2024-12-18T10:27:54.720" v="1372" actId="1076"/>
          <ac:picMkLst>
            <pc:docMk/>
            <pc:sldMk cId="164053429" sldId="2147379896"/>
            <ac:picMk id="66" creationId="{E0D0BBF2-A714-0825-8589-0BA5CB6B158D}"/>
          </ac:picMkLst>
        </pc:picChg>
        <pc:picChg chg="mod">
          <ac:chgData name="Jiang, Nancy" userId="2e38f130-956d-425b-8d6b-1b76a544cfdd" providerId="ADAL" clId="{98A22A67-D799-4041-9A13-2C3ECEAC861D}" dt="2024-12-18T10:27:54.720" v="1372" actId="1076"/>
          <ac:picMkLst>
            <pc:docMk/>
            <pc:sldMk cId="164053429" sldId="2147379896"/>
            <ac:picMk id="67" creationId="{42EB3A85-7D67-ABA0-65BA-F633859778A5}"/>
          </ac:picMkLst>
        </pc:picChg>
        <pc:picChg chg="mod">
          <ac:chgData name="Jiang, Nancy" userId="2e38f130-956d-425b-8d6b-1b76a544cfdd" providerId="ADAL" clId="{98A22A67-D799-4041-9A13-2C3ECEAC861D}" dt="2024-12-18T10:27:54.720" v="1372" actId="1076"/>
          <ac:picMkLst>
            <pc:docMk/>
            <pc:sldMk cId="164053429" sldId="2147379896"/>
            <ac:picMk id="68" creationId="{4D16CE1E-BE17-201E-A041-02429CED92A6}"/>
          </ac:picMkLst>
        </pc:picChg>
        <pc:cxnChg chg="mod">
          <ac:chgData name="Jiang, Nancy" userId="2e38f130-956d-425b-8d6b-1b76a544cfdd" providerId="ADAL" clId="{98A22A67-D799-4041-9A13-2C3ECEAC861D}" dt="2024-12-18T10:27:37.320" v="1367" actId="1076"/>
          <ac:cxnSpMkLst>
            <pc:docMk/>
            <pc:sldMk cId="164053429" sldId="2147379896"/>
            <ac:cxnSpMk id="17" creationId="{A0C1334E-F906-A207-14A2-F352583C5ACB}"/>
          </ac:cxnSpMkLst>
        </pc:cxnChg>
        <pc:cxnChg chg="mod">
          <ac:chgData name="Jiang, Nancy" userId="2e38f130-956d-425b-8d6b-1b76a544cfdd" providerId="ADAL" clId="{98A22A67-D799-4041-9A13-2C3ECEAC861D}" dt="2024-12-18T10:27:37.320" v="1367" actId="1076"/>
          <ac:cxnSpMkLst>
            <pc:docMk/>
            <pc:sldMk cId="164053429" sldId="2147379896"/>
            <ac:cxnSpMk id="18" creationId="{D6C4B5DF-4453-28A5-2CA1-0FD6D9164451}"/>
          </ac:cxnSpMkLst>
        </pc:cxnChg>
        <pc:cxnChg chg="mod">
          <ac:chgData name="Jiang, Nancy" userId="2e38f130-956d-425b-8d6b-1b76a544cfdd" providerId="ADAL" clId="{98A22A67-D799-4041-9A13-2C3ECEAC861D}" dt="2024-12-18T10:27:37.320" v="1367" actId="1076"/>
          <ac:cxnSpMkLst>
            <pc:docMk/>
            <pc:sldMk cId="164053429" sldId="2147379896"/>
            <ac:cxnSpMk id="19" creationId="{51836480-F2CE-76B4-3D6B-81E18ADDB808}"/>
          </ac:cxnSpMkLst>
        </pc:cxnChg>
        <pc:cxnChg chg="mod">
          <ac:chgData name="Jiang, Nancy" userId="2e38f130-956d-425b-8d6b-1b76a544cfdd" providerId="ADAL" clId="{98A22A67-D799-4041-9A13-2C3ECEAC861D}" dt="2024-12-18T10:27:37.320" v="1367" actId="1076"/>
          <ac:cxnSpMkLst>
            <pc:docMk/>
            <pc:sldMk cId="164053429" sldId="2147379896"/>
            <ac:cxnSpMk id="20" creationId="{E2576C2E-C442-4F71-C814-CE773C80A0AE}"/>
          </ac:cxnSpMkLst>
        </pc:cxnChg>
        <pc:cxnChg chg="mod">
          <ac:chgData name="Jiang, Nancy" userId="2e38f130-956d-425b-8d6b-1b76a544cfdd" providerId="ADAL" clId="{98A22A67-D799-4041-9A13-2C3ECEAC861D}" dt="2024-12-18T10:27:37.320" v="1367" actId="1076"/>
          <ac:cxnSpMkLst>
            <pc:docMk/>
            <pc:sldMk cId="164053429" sldId="2147379896"/>
            <ac:cxnSpMk id="30" creationId="{2269D84B-472B-D99F-1D55-9D93A037CEE5}"/>
          </ac:cxnSpMkLst>
        </pc:cxnChg>
        <pc:cxnChg chg="mod">
          <ac:chgData name="Jiang, Nancy" userId="2e38f130-956d-425b-8d6b-1b76a544cfdd" providerId="ADAL" clId="{98A22A67-D799-4041-9A13-2C3ECEAC861D}" dt="2024-12-18T10:27:37.320" v="1367" actId="1076"/>
          <ac:cxnSpMkLst>
            <pc:docMk/>
            <pc:sldMk cId="164053429" sldId="2147379896"/>
            <ac:cxnSpMk id="31" creationId="{ED39C1B4-D242-6ACA-25B0-6FB147CA80A4}"/>
          </ac:cxnSpMkLst>
        </pc:cxnChg>
        <pc:cxnChg chg="mod">
          <ac:chgData name="Jiang, Nancy" userId="2e38f130-956d-425b-8d6b-1b76a544cfdd" providerId="ADAL" clId="{98A22A67-D799-4041-9A13-2C3ECEAC861D}" dt="2024-12-18T10:27:54.720" v="1372" actId="1076"/>
          <ac:cxnSpMkLst>
            <pc:docMk/>
            <pc:sldMk cId="164053429" sldId="2147379896"/>
            <ac:cxnSpMk id="49" creationId="{E5184E2F-F117-7CA1-08F0-015DE7752BCE}"/>
          </ac:cxnSpMkLst>
        </pc:cxnChg>
        <pc:cxnChg chg="mod">
          <ac:chgData name="Jiang, Nancy" userId="2e38f130-956d-425b-8d6b-1b76a544cfdd" providerId="ADAL" clId="{98A22A67-D799-4041-9A13-2C3ECEAC861D}" dt="2024-12-18T10:27:54.720" v="1372" actId="1076"/>
          <ac:cxnSpMkLst>
            <pc:docMk/>
            <pc:sldMk cId="164053429" sldId="2147379896"/>
            <ac:cxnSpMk id="50" creationId="{47CDEE05-2BC9-86FE-2D24-C8F4881E55F5}"/>
          </ac:cxnSpMkLst>
        </pc:cxnChg>
        <pc:cxnChg chg="mod">
          <ac:chgData name="Jiang, Nancy" userId="2e38f130-956d-425b-8d6b-1b76a544cfdd" providerId="ADAL" clId="{98A22A67-D799-4041-9A13-2C3ECEAC861D}" dt="2024-12-18T10:27:54.720" v="1372" actId="1076"/>
          <ac:cxnSpMkLst>
            <pc:docMk/>
            <pc:sldMk cId="164053429" sldId="2147379896"/>
            <ac:cxnSpMk id="51" creationId="{164719AF-82BE-8712-DA8C-3DA5C70D6AD3}"/>
          </ac:cxnSpMkLst>
        </pc:cxnChg>
        <pc:cxnChg chg="mod">
          <ac:chgData name="Jiang, Nancy" userId="2e38f130-956d-425b-8d6b-1b76a544cfdd" providerId="ADAL" clId="{98A22A67-D799-4041-9A13-2C3ECEAC861D}" dt="2024-12-18T10:27:54.720" v="1372" actId="1076"/>
          <ac:cxnSpMkLst>
            <pc:docMk/>
            <pc:sldMk cId="164053429" sldId="2147379896"/>
            <ac:cxnSpMk id="52" creationId="{90E07803-8DA6-6F85-C48F-511F2E384C4F}"/>
          </ac:cxnSpMkLst>
        </pc:cxnChg>
        <pc:cxnChg chg="mod">
          <ac:chgData name="Jiang, Nancy" userId="2e38f130-956d-425b-8d6b-1b76a544cfdd" providerId="ADAL" clId="{98A22A67-D799-4041-9A13-2C3ECEAC861D}" dt="2024-12-18T10:27:54.720" v="1372" actId="1076"/>
          <ac:cxnSpMkLst>
            <pc:docMk/>
            <pc:sldMk cId="164053429" sldId="2147379896"/>
            <ac:cxnSpMk id="54" creationId="{27689F8C-D1D8-6E59-46FE-D7C9BEB9FF3C}"/>
          </ac:cxnSpMkLst>
        </pc:cxnChg>
        <pc:cxnChg chg="mod">
          <ac:chgData name="Jiang, Nancy" userId="2e38f130-956d-425b-8d6b-1b76a544cfdd" providerId="ADAL" clId="{98A22A67-D799-4041-9A13-2C3ECEAC861D}" dt="2024-12-18T10:27:54.720" v="1372" actId="1076"/>
          <ac:cxnSpMkLst>
            <pc:docMk/>
            <pc:sldMk cId="164053429" sldId="2147379896"/>
            <ac:cxnSpMk id="55" creationId="{A05C2378-BAC8-5A42-C912-6F306D4377A3}"/>
          </ac:cxnSpMkLst>
        </pc:cxnChg>
        <pc:cxnChg chg="mod">
          <ac:chgData name="Jiang, Nancy" userId="2e38f130-956d-425b-8d6b-1b76a544cfdd" providerId="ADAL" clId="{98A22A67-D799-4041-9A13-2C3ECEAC861D}" dt="2024-12-18T10:27:54.720" v="1372" actId="1076"/>
          <ac:cxnSpMkLst>
            <pc:docMk/>
            <pc:sldMk cId="164053429" sldId="2147379896"/>
            <ac:cxnSpMk id="65" creationId="{66F0AD32-61E6-93AE-4E76-991596A82D8E}"/>
          </ac:cxnSpMkLst>
        </pc:cxnChg>
      </pc:sldChg>
      <pc:sldChg chg="new del">
        <pc:chgData name="Jiang, Nancy" userId="2e38f130-956d-425b-8d6b-1b76a544cfdd" providerId="ADAL" clId="{98A22A67-D799-4041-9A13-2C3ECEAC861D}" dt="2024-12-19T07:35:33.330" v="3746" actId="47"/>
        <pc:sldMkLst>
          <pc:docMk/>
          <pc:sldMk cId="3921662277" sldId="2147379897"/>
        </pc:sldMkLst>
      </pc:sldChg>
      <pc:sldChg chg="addSp delSp modSp new mod ord modClrScheme chgLayout">
        <pc:chgData name="Jiang, Nancy" userId="2e38f130-956d-425b-8d6b-1b76a544cfdd" providerId="ADAL" clId="{98A22A67-D799-4041-9A13-2C3ECEAC861D}" dt="2024-12-19T07:35:36.711" v="3748"/>
        <pc:sldMkLst>
          <pc:docMk/>
          <pc:sldMk cId="2590230741" sldId="2147379898"/>
        </pc:sldMkLst>
        <pc:spChg chg="del mod ord">
          <ac:chgData name="Jiang, Nancy" userId="2e38f130-956d-425b-8d6b-1b76a544cfdd" providerId="ADAL" clId="{98A22A67-D799-4041-9A13-2C3ECEAC861D}" dt="2024-12-19T03:41:53.636" v="2326" actId="700"/>
          <ac:spMkLst>
            <pc:docMk/>
            <pc:sldMk cId="2590230741" sldId="2147379898"/>
            <ac:spMk id="2" creationId="{47124207-94B5-1C4F-05FD-BB5EFD0375A2}"/>
          </ac:spMkLst>
        </pc:spChg>
        <pc:spChg chg="mod ord">
          <ac:chgData name="Jiang, Nancy" userId="2e38f130-956d-425b-8d6b-1b76a544cfdd" providerId="ADAL" clId="{98A22A67-D799-4041-9A13-2C3ECEAC861D}" dt="2024-12-19T03:41:53.636" v="2326" actId="700"/>
          <ac:spMkLst>
            <pc:docMk/>
            <pc:sldMk cId="2590230741" sldId="2147379898"/>
            <ac:spMk id="3" creationId="{CFD34B17-0D98-BFEB-7CA8-DF489CCD13BA}"/>
          </ac:spMkLst>
        </pc:spChg>
        <pc:spChg chg="del">
          <ac:chgData name="Jiang, Nancy" userId="2e38f130-956d-425b-8d6b-1b76a544cfdd" providerId="ADAL" clId="{98A22A67-D799-4041-9A13-2C3ECEAC861D}" dt="2024-12-19T03:41:53.636" v="2326" actId="700"/>
          <ac:spMkLst>
            <pc:docMk/>
            <pc:sldMk cId="2590230741" sldId="2147379898"/>
            <ac:spMk id="4" creationId="{002F68FD-CE2B-DBDA-675F-A3A47A763E1A}"/>
          </ac:spMkLst>
        </pc:spChg>
        <pc:spChg chg="add mod ord">
          <ac:chgData name="Jiang, Nancy" userId="2e38f130-956d-425b-8d6b-1b76a544cfdd" providerId="ADAL" clId="{98A22A67-D799-4041-9A13-2C3ECEAC861D}" dt="2024-12-19T03:42:13.222" v="2339" actId="20577"/>
          <ac:spMkLst>
            <pc:docMk/>
            <pc:sldMk cId="2590230741" sldId="2147379898"/>
            <ac:spMk id="5" creationId="{C02DC60C-1F12-6D74-9423-B82FCB5F1207}"/>
          </ac:spMkLst>
        </pc:spChg>
      </pc:sldChg>
      <pc:sldChg chg="addSp delSp modSp new mod modClrScheme chgLayout">
        <pc:chgData name="Jiang, Nancy" userId="2e38f130-956d-425b-8d6b-1b76a544cfdd" providerId="ADAL" clId="{98A22A67-D799-4041-9A13-2C3ECEAC861D}" dt="2024-12-19T03:42:04.162" v="2328" actId="700"/>
        <pc:sldMkLst>
          <pc:docMk/>
          <pc:sldMk cId="3944156044" sldId="2147379899"/>
        </pc:sldMkLst>
        <pc:spChg chg="del mod ord">
          <ac:chgData name="Jiang, Nancy" userId="2e38f130-956d-425b-8d6b-1b76a544cfdd" providerId="ADAL" clId="{98A22A67-D799-4041-9A13-2C3ECEAC861D}" dt="2024-12-19T03:42:04.162" v="2328" actId="700"/>
          <ac:spMkLst>
            <pc:docMk/>
            <pc:sldMk cId="3944156044" sldId="2147379899"/>
            <ac:spMk id="2" creationId="{40A19C61-66A1-D266-F547-F9460283E4C7}"/>
          </ac:spMkLst>
        </pc:spChg>
        <pc:spChg chg="mod ord">
          <ac:chgData name="Jiang, Nancy" userId="2e38f130-956d-425b-8d6b-1b76a544cfdd" providerId="ADAL" clId="{98A22A67-D799-4041-9A13-2C3ECEAC861D}" dt="2024-12-19T03:42:04.162" v="2328" actId="700"/>
          <ac:spMkLst>
            <pc:docMk/>
            <pc:sldMk cId="3944156044" sldId="2147379899"/>
            <ac:spMk id="3" creationId="{7BC56D9E-0785-7500-19F0-1AEEDEBE8748}"/>
          </ac:spMkLst>
        </pc:spChg>
        <pc:spChg chg="del mod ord">
          <ac:chgData name="Jiang, Nancy" userId="2e38f130-956d-425b-8d6b-1b76a544cfdd" providerId="ADAL" clId="{98A22A67-D799-4041-9A13-2C3ECEAC861D}" dt="2024-12-19T03:42:04.162" v="2328" actId="700"/>
          <ac:spMkLst>
            <pc:docMk/>
            <pc:sldMk cId="3944156044" sldId="2147379899"/>
            <ac:spMk id="4" creationId="{657D756F-EF5F-F313-5FAE-5B6051EB173B}"/>
          </ac:spMkLst>
        </pc:spChg>
        <pc:spChg chg="add mod ord">
          <ac:chgData name="Jiang, Nancy" userId="2e38f130-956d-425b-8d6b-1b76a544cfdd" providerId="ADAL" clId="{98A22A67-D799-4041-9A13-2C3ECEAC861D}" dt="2024-12-19T03:42:04.162" v="2328" actId="700"/>
          <ac:spMkLst>
            <pc:docMk/>
            <pc:sldMk cId="3944156044" sldId="2147379899"/>
            <ac:spMk id="5" creationId="{3844419C-03AD-D255-94DD-DCBA213B6C17}"/>
          </ac:spMkLst>
        </pc:spChg>
        <pc:spChg chg="add mod ord">
          <ac:chgData name="Jiang, Nancy" userId="2e38f130-956d-425b-8d6b-1b76a544cfdd" providerId="ADAL" clId="{98A22A67-D799-4041-9A13-2C3ECEAC861D}" dt="2024-12-19T03:42:04.162" v="2328" actId="700"/>
          <ac:spMkLst>
            <pc:docMk/>
            <pc:sldMk cId="3944156044" sldId="2147379899"/>
            <ac:spMk id="6" creationId="{126B2518-C3A4-5088-F47D-DE3815711C3C}"/>
          </ac:spMkLst>
        </pc:spChg>
      </pc:sldChg>
      <pc:sldChg chg="addSp modSp add mod ord modShow">
        <pc:chgData name="Jiang, Nancy" userId="2e38f130-956d-425b-8d6b-1b76a544cfdd" providerId="ADAL" clId="{98A22A67-D799-4041-9A13-2C3ECEAC861D}" dt="2024-12-19T07:10:29.215" v="3233"/>
        <pc:sldMkLst>
          <pc:docMk/>
          <pc:sldMk cId="2286432450" sldId="2147379900"/>
        </pc:sldMkLst>
        <pc:spChg chg="add mod">
          <ac:chgData name="Jiang, Nancy" userId="2e38f130-956d-425b-8d6b-1b76a544cfdd" providerId="ADAL" clId="{98A22A67-D799-4041-9A13-2C3ECEAC861D}" dt="2024-12-19T07:10:29.215" v="3233"/>
          <ac:spMkLst>
            <pc:docMk/>
            <pc:sldMk cId="2286432450" sldId="2147379900"/>
            <ac:spMk id="6" creationId="{920B6C6B-2D73-D93B-2C41-8E027EAE0275}"/>
          </ac:spMkLst>
        </pc:spChg>
        <pc:spChg chg="mod">
          <ac:chgData name="Jiang, Nancy" userId="2e38f130-956d-425b-8d6b-1b76a544cfdd" providerId="ADAL" clId="{98A22A67-D799-4041-9A13-2C3ECEAC861D}" dt="2024-12-19T07:10:27.801" v="3232" actId="1036"/>
          <ac:spMkLst>
            <pc:docMk/>
            <pc:sldMk cId="2286432450" sldId="2147379900"/>
            <ac:spMk id="24" creationId="{47D1D47E-2E4C-DD6B-C8CF-9D6BAA266798}"/>
          </ac:spMkLst>
        </pc:spChg>
        <pc:spChg chg="mod">
          <ac:chgData name="Jiang, Nancy" userId="2e38f130-956d-425b-8d6b-1b76a544cfdd" providerId="ADAL" clId="{98A22A67-D799-4041-9A13-2C3ECEAC861D}" dt="2024-12-19T07:10:27.801" v="3232" actId="1036"/>
          <ac:spMkLst>
            <pc:docMk/>
            <pc:sldMk cId="2286432450" sldId="2147379900"/>
            <ac:spMk id="27" creationId="{E62E84A7-418E-8065-9C73-2C056F33AAA7}"/>
          </ac:spMkLst>
        </pc:spChg>
        <pc:graphicFrameChg chg="add mod">
          <ac:chgData name="Jiang, Nancy" userId="2e38f130-956d-425b-8d6b-1b76a544cfdd" providerId="ADAL" clId="{98A22A67-D799-4041-9A13-2C3ECEAC861D}" dt="2024-12-19T07:10:29.215" v="3233"/>
          <ac:graphicFrameMkLst>
            <pc:docMk/>
            <pc:sldMk cId="2286432450" sldId="2147379900"/>
            <ac:graphicFrameMk id="8" creationId="{A67EFBBA-C56E-F9A0-F35A-43033704D90A}"/>
          </ac:graphicFrameMkLst>
        </pc:graphicFrameChg>
        <pc:graphicFrameChg chg="add mod">
          <ac:chgData name="Jiang, Nancy" userId="2e38f130-956d-425b-8d6b-1b76a544cfdd" providerId="ADAL" clId="{98A22A67-D799-4041-9A13-2C3ECEAC861D}" dt="2024-12-19T07:10:29.215" v="3233"/>
          <ac:graphicFrameMkLst>
            <pc:docMk/>
            <pc:sldMk cId="2286432450" sldId="2147379900"/>
            <ac:graphicFrameMk id="10" creationId="{99A64380-EC82-AAD5-C2BE-3D4E8B6272CE}"/>
          </ac:graphicFrameMkLst>
        </pc:graphicFrameChg>
        <pc:cxnChg chg="mod">
          <ac:chgData name="Jiang, Nancy" userId="2e38f130-956d-425b-8d6b-1b76a544cfdd" providerId="ADAL" clId="{98A22A67-D799-4041-9A13-2C3ECEAC861D}" dt="2024-12-19T07:10:27.801" v="3232" actId="1036"/>
          <ac:cxnSpMkLst>
            <pc:docMk/>
            <pc:sldMk cId="2286432450" sldId="2147379900"/>
            <ac:cxnSpMk id="23" creationId="{C8251581-8BEA-5751-0A0F-314030EE1CA0}"/>
          </ac:cxnSpMkLst>
        </pc:cxnChg>
        <pc:cxnChg chg="mod">
          <ac:chgData name="Jiang, Nancy" userId="2e38f130-956d-425b-8d6b-1b76a544cfdd" providerId="ADAL" clId="{98A22A67-D799-4041-9A13-2C3ECEAC861D}" dt="2024-12-19T07:10:27.801" v="3232" actId="1036"/>
          <ac:cxnSpMkLst>
            <pc:docMk/>
            <pc:sldMk cId="2286432450" sldId="2147379900"/>
            <ac:cxnSpMk id="26" creationId="{17D694E6-19FC-7760-D239-FE90F14770A9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1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13C565-DF22-4B33-8E87-0D9BF11ED00F}" type="datetimeFigureOut">
              <a:rPr lang="en-US" smtClean="0"/>
              <a:t>12/2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2438" y="1239838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777195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7425EF-932E-4BB0-AD97-07196FB8B5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761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, Col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百威亚太VI-23.jpg" descr="百威亚太VI-23.jpg">
            <a:extLst>
              <a:ext uri="{FF2B5EF4-FFF2-40B4-BE49-F238E27FC236}">
                <a16:creationId xmlns:a16="http://schemas.microsoft.com/office/drawing/2014/main" id="{D4C7F7E3-70F9-4149-9DC4-939CB344E9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-21014"/>
            <a:ext cx="9176575" cy="516451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7608" y="1799899"/>
            <a:ext cx="5046388" cy="1146468"/>
          </a:xfrm>
          <a:ln w="12700">
            <a:miter lim="400000"/>
          </a:ln>
        </p:spPr>
        <p:txBody>
          <a:bodyPr wrap="square" lIns="19050" tIns="19050" rIns="19050" bIns="19050" anchor="ctr">
            <a:spAutoFit/>
          </a:bodyPr>
          <a:lstStyle>
            <a:lvl1pPr>
              <a:defRPr kumimoji="0" lang="en-US" sz="3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Arial"/>
                <a:ea typeface="Arial"/>
                <a:cs typeface="Arial"/>
                <a:sym typeface="Helvetica Neue"/>
              </a:defRPr>
            </a:lvl1pPr>
          </a:lstStyle>
          <a:p>
            <a:pPr marL="0" marR="0" lvl="0" indent="0" defTabSz="171446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47B02F0-2DF4-41C9-94A7-F26678D2F46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01240" y="3104185"/>
            <a:ext cx="3551464" cy="470913"/>
          </a:xfrm>
        </p:spPr>
        <p:txBody>
          <a:bodyPr/>
          <a:lstStyle>
            <a:lvl1pPr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96537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lor Breaker-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百威亚太VI-30.jpg" descr="百威亚太VI-30.jpg">
            <a:extLst>
              <a:ext uri="{FF2B5EF4-FFF2-40B4-BE49-F238E27FC236}">
                <a16:creationId xmlns:a16="http://schemas.microsoft.com/office/drawing/2014/main" id="{ACB94089-E2D7-4C23-950D-5B4E25A60D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763" y="0"/>
            <a:ext cx="9144000" cy="51435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967067"/>
            <a:ext cx="7886700" cy="1209368"/>
          </a:xfrm>
        </p:spPr>
        <p:txBody>
          <a:bodyPr anchor="ctr" anchorCtr="0">
            <a:normAutofit/>
          </a:bodyPr>
          <a:lstStyle>
            <a:lvl1pPr algn="ctr">
              <a:defRPr sz="405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78168" y="4730751"/>
            <a:ext cx="302283" cy="27384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700" baseline="0" smtClean="0">
                <a:solidFill>
                  <a:schemeClr val="bg1"/>
                </a:solidFill>
              </a:defRPr>
            </a:lvl1pPr>
          </a:lstStyle>
          <a:p>
            <a:fld id="{449EE1FA-814C-4BDC-9591-31839B5CF71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1757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lor Breaker-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百威亚太VI-32.jpg" descr="百威亚太VI-32.jpg">
            <a:extLst>
              <a:ext uri="{FF2B5EF4-FFF2-40B4-BE49-F238E27FC236}">
                <a16:creationId xmlns:a16="http://schemas.microsoft.com/office/drawing/2014/main" id="{9C69008C-A6E2-4639-8D6E-542F3A5E6C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82" y="0"/>
            <a:ext cx="9139238" cy="51435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967067"/>
            <a:ext cx="7886700" cy="1209368"/>
          </a:xfrm>
        </p:spPr>
        <p:txBody>
          <a:bodyPr anchor="ctr" anchorCtr="0">
            <a:normAutofit/>
          </a:bodyPr>
          <a:lstStyle>
            <a:lvl1pPr algn="ctr">
              <a:defRPr sz="405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78168" y="4730751"/>
            <a:ext cx="302283" cy="27384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700" baseline="0" smtClean="0">
                <a:solidFill>
                  <a:schemeClr val="bg1"/>
                </a:solidFill>
              </a:defRPr>
            </a:lvl1pPr>
          </a:lstStyle>
          <a:p>
            <a:fld id="{449EE1FA-814C-4BDC-9591-31839B5CF71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9335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lor Breaker-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百威亚太VI-33.jpg" descr="百威亚太VI-33.jpg">
            <a:extLst>
              <a:ext uri="{FF2B5EF4-FFF2-40B4-BE49-F238E27FC236}">
                <a16:creationId xmlns:a16="http://schemas.microsoft.com/office/drawing/2014/main" id="{1A4068AC-A005-4C77-9ADD-9E0FD3098A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9204611" cy="5180292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967067"/>
            <a:ext cx="7886700" cy="1209368"/>
          </a:xfrm>
        </p:spPr>
        <p:txBody>
          <a:bodyPr anchor="ctr" anchorCtr="0">
            <a:normAutofit/>
          </a:bodyPr>
          <a:lstStyle>
            <a:lvl1pPr algn="ctr">
              <a:defRPr sz="405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35389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na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百威亚太VI-34.jpg" descr="百威亚太VI-34.jpg">
            <a:extLst>
              <a:ext uri="{FF2B5EF4-FFF2-40B4-BE49-F238E27FC236}">
                <a16:creationId xmlns:a16="http://schemas.microsoft.com/office/drawing/2014/main" id="{A6F930BD-C711-43CA-ABDA-FD7706D969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580" y="1"/>
            <a:ext cx="9181160" cy="5167094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259AF92B-CF94-4D0B-98AD-1BA30F808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967067"/>
            <a:ext cx="7886700" cy="1209368"/>
          </a:xfrm>
        </p:spPr>
        <p:txBody>
          <a:bodyPr anchor="ctr" anchorCtr="0">
            <a:normAutofit/>
          </a:bodyPr>
          <a:lstStyle>
            <a:lvl1pPr algn="ctr">
              <a:defRPr sz="405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76540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8650" y="330255"/>
            <a:ext cx="7886699" cy="900246"/>
          </a:xfrm>
          <a:ln w="12700">
            <a:miter lim="400000"/>
          </a:ln>
        </p:spPr>
        <p:txBody>
          <a:bodyPr wrap="square" lIns="19050" tIns="19050" rIns="19050" bIns="19050" anchor="ctr">
            <a:spAutoFit/>
          </a:bodyPr>
          <a:lstStyle>
            <a:lvl1pPr>
              <a:defRPr kumimoji="0" lang="en-US" sz="280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Arial"/>
                <a:ea typeface="Arial"/>
                <a:cs typeface="Arial"/>
                <a:sym typeface="Helvetica Neue"/>
              </a:defRPr>
            </a:lvl1pPr>
          </a:lstStyle>
          <a:p>
            <a:pPr marL="0" marR="0" lvl="0" indent="0" defTabSz="171446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78168" y="4730751"/>
            <a:ext cx="302283" cy="27384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700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1A50C8-69E6-4B20-824C-FBEC70E5CD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</p:spPr>
        <p:txBody>
          <a:bodyPr/>
          <a:lstStyle>
            <a:lvl1pPr>
              <a:spcBef>
                <a:spcPts val="6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66407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899896"/>
            <a:ext cx="2641600" cy="1379254"/>
          </a:xfrm>
        </p:spPr>
        <p:txBody>
          <a:bodyPr anchor="ctr" anchorCtr="0">
            <a:noAutofit/>
          </a:bodyPr>
          <a:lstStyle>
            <a:lvl1pPr algn="l">
              <a:defRPr sz="28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20888" y="1691451"/>
            <a:ext cx="4698999" cy="1796144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800" baseline="0">
                <a:solidFill>
                  <a:schemeClr val="bg2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422877" y="1682951"/>
            <a:ext cx="58284" cy="18131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78168" y="4730751"/>
            <a:ext cx="302283" cy="27384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700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37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Picture with Cap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百威亚太VI-25.jpg" descr="百威亚太VI-25.jpg">
            <a:extLst>
              <a:ext uri="{FF2B5EF4-FFF2-40B4-BE49-F238E27FC236}">
                <a16:creationId xmlns:a16="http://schemas.microsoft.com/office/drawing/2014/main" id="{6DCA8F32-0CEB-4AE1-AD42-93B0880FC9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622289" y="1"/>
            <a:ext cx="3521714" cy="514349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800"/>
            </a:lvl1pPr>
            <a:lvl2pPr marL="257168" indent="0">
              <a:buNone/>
              <a:defRPr sz="1575"/>
            </a:lvl2pPr>
            <a:lvl3pPr marL="514337" indent="0">
              <a:buNone/>
              <a:defRPr sz="1350"/>
            </a:lvl3pPr>
            <a:lvl4pPr marL="771506" indent="0">
              <a:buNone/>
              <a:defRPr sz="1125"/>
            </a:lvl4pPr>
            <a:lvl5pPr marL="1028675" indent="0">
              <a:buNone/>
              <a:defRPr sz="1125"/>
            </a:lvl5pPr>
            <a:lvl6pPr marL="1285843" indent="0">
              <a:buNone/>
              <a:defRPr sz="1125"/>
            </a:lvl6pPr>
            <a:lvl7pPr marL="1543012" indent="0">
              <a:buNone/>
              <a:defRPr sz="1125"/>
            </a:lvl7pPr>
            <a:lvl8pPr marL="1800180" indent="0">
              <a:buNone/>
              <a:defRPr sz="1125"/>
            </a:lvl8pPr>
            <a:lvl9pPr marL="2057348" indent="0">
              <a:buNone/>
              <a:defRPr sz="1125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215901"/>
            <a:ext cx="3637359" cy="924719"/>
          </a:xfrm>
        </p:spPr>
        <p:txBody>
          <a:bodyPr anchor="b">
            <a:no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628650" y="1431642"/>
            <a:ext cx="3638550" cy="1808764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bg2"/>
                </a:solidFill>
              </a:defRPr>
            </a:lvl1pPr>
            <a:lvl2pPr marL="0" indent="0">
              <a:buNone/>
              <a:defRPr sz="1800" baseline="0">
                <a:solidFill>
                  <a:schemeClr val="bg2"/>
                </a:solidFill>
              </a:defRPr>
            </a:lvl2pPr>
            <a:lvl3pPr>
              <a:defRPr sz="900" baseline="0"/>
            </a:lvl3pPr>
            <a:lvl4pPr>
              <a:defRPr sz="900" baseline="0"/>
            </a:lvl4pPr>
            <a:lvl5pPr>
              <a:defRPr sz="9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78168" y="4730751"/>
            <a:ext cx="302283" cy="27384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700" baseline="0" smtClean="0">
                <a:solidFill>
                  <a:schemeClr val="bg1"/>
                </a:solidFill>
              </a:defRPr>
            </a:lvl1pPr>
          </a:lstStyle>
          <a:p>
            <a:fld id="{449EE1FA-814C-4BDC-9591-31839B5CF71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722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  <p15:guide id="2" orient="horz" pos="3936">
          <p15:clr>
            <a:srgbClr val="FBAE40"/>
          </p15:clr>
        </p15:guide>
        <p15:guide id="3" pos="2880">
          <p15:clr>
            <a:srgbClr val="FBAE40"/>
          </p15:clr>
        </p15:guide>
        <p15:guide id="4" pos="26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百威亚太VI-29.jpg" descr="百威亚太VI-29.jpg">
            <a:extLst>
              <a:ext uri="{FF2B5EF4-FFF2-40B4-BE49-F238E27FC236}">
                <a16:creationId xmlns:a16="http://schemas.microsoft.com/office/drawing/2014/main" id="{7F470E35-8E36-499F-A62B-D8522394D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-10738"/>
            <a:ext cx="9144000" cy="5154238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8650" y="330255"/>
            <a:ext cx="7886699" cy="900246"/>
          </a:xfrm>
          <a:ln w="12700">
            <a:miter lim="400000"/>
          </a:ln>
        </p:spPr>
        <p:txBody>
          <a:bodyPr wrap="square" lIns="19050" tIns="19050" rIns="19050" bIns="19050" anchor="ctr">
            <a:spAutoFit/>
          </a:bodyPr>
          <a:lstStyle>
            <a:lvl1pPr>
              <a:defRPr kumimoji="0" lang="en-US" sz="280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Arial"/>
                <a:ea typeface="Arial"/>
                <a:cs typeface="Arial"/>
                <a:sym typeface="Helvetica Neue"/>
              </a:defRPr>
            </a:lvl1pPr>
          </a:lstStyle>
          <a:p>
            <a:pPr marL="0" marR="0" lvl="0" indent="0" defTabSz="171446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6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78168" y="4730751"/>
            <a:ext cx="302283" cy="27384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700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256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百威亚太VI-29.jpg" descr="百威亚太VI-29.jpg">
            <a:extLst>
              <a:ext uri="{FF2B5EF4-FFF2-40B4-BE49-F238E27FC236}">
                <a16:creationId xmlns:a16="http://schemas.microsoft.com/office/drawing/2014/main" id="{4DBCB1B8-C73B-4492-8EEF-A9DD6D5342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-10738"/>
            <a:ext cx="9144000" cy="5154238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899896"/>
            <a:ext cx="2641600" cy="1379254"/>
          </a:xfrm>
        </p:spPr>
        <p:txBody>
          <a:bodyPr anchor="ctr" anchorCtr="0">
            <a:noAutofit/>
          </a:bodyPr>
          <a:lstStyle>
            <a:lvl1pPr algn="l">
              <a:defRPr sz="28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20888" y="1691451"/>
            <a:ext cx="4698999" cy="1796144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800" baseline="0">
                <a:solidFill>
                  <a:schemeClr val="bg2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422877" y="1682951"/>
            <a:ext cx="58284" cy="18131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78168" y="4730751"/>
            <a:ext cx="302283" cy="27384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700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583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37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Picture with Caption-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百威亚太VI-29.jpg" descr="百威亚太VI-29.jpg">
            <a:extLst>
              <a:ext uri="{FF2B5EF4-FFF2-40B4-BE49-F238E27FC236}">
                <a16:creationId xmlns:a16="http://schemas.microsoft.com/office/drawing/2014/main" id="{3317B9E4-0D61-44D5-985B-A476A55271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5423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622289" y="1"/>
            <a:ext cx="3521714" cy="514349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800"/>
            </a:lvl1pPr>
            <a:lvl2pPr marL="257168" indent="0">
              <a:buNone/>
              <a:defRPr sz="1575"/>
            </a:lvl2pPr>
            <a:lvl3pPr marL="514337" indent="0">
              <a:buNone/>
              <a:defRPr sz="1350"/>
            </a:lvl3pPr>
            <a:lvl4pPr marL="771506" indent="0">
              <a:buNone/>
              <a:defRPr sz="1125"/>
            </a:lvl4pPr>
            <a:lvl5pPr marL="1028675" indent="0">
              <a:buNone/>
              <a:defRPr sz="1125"/>
            </a:lvl5pPr>
            <a:lvl6pPr marL="1285843" indent="0">
              <a:buNone/>
              <a:defRPr sz="1125"/>
            </a:lvl6pPr>
            <a:lvl7pPr marL="1543012" indent="0">
              <a:buNone/>
              <a:defRPr sz="1125"/>
            </a:lvl7pPr>
            <a:lvl8pPr marL="1800180" indent="0">
              <a:buNone/>
              <a:defRPr sz="1125"/>
            </a:lvl8pPr>
            <a:lvl9pPr marL="2057348" indent="0">
              <a:buNone/>
              <a:defRPr sz="1125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215901"/>
            <a:ext cx="3637359" cy="924719"/>
          </a:xfrm>
        </p:spPr>
        <p:txBody>
          <a:bodyPr anchor="b">
            <a:no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628650" y="1431642"/>
            <a:ext cx="3638550" cy="1808764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bg2"/>
                </a:solidFill>
              </a:defRPr>
            </a:lvl1pPr>
            <a:lvl2pPr marL="0" indent="0">
              <a:buNone/>
              <a:defRPr sz="1800" baseline="0">
                <a:solidFill>
                  <a:schemeClr val="bg2"/>
                </a:solidFill>
              </a:defRPr>
            </a:lvl2pPr>
            <a:lvl3pPr>
              <a:defRPr sz="900" baseline="0"/>
            </a:lvl3pPr>
            <a:lvl4pPr>
              <a:defRPr sz="900" baseline="0"/>
            </a:lvl4pPr>
            <a:lvl5pPr>
              <a:defRPr sz="9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78168" y="4730751"/>
            <a:ext cx="302283" cy="27384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700" baseline="0" smtClean="0">
                <a:solidFill>
                  <a:schemeClr val="bg1"/>
                </a:solidFill>
              </a:defRPr>
            </a:lvl1pPr>
          </a:lstStyle>
          <a:p>
            <a:fld id="{449EE1FA-814C-4BDC-9591-31839B5CF71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928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  <p15:guide id="2" orient="horz" pos="3936">
          <p15:clr>
            <a:srgbClr val="FBAE40"/>
          </p15:clr>
        </p15:guide>
        <p15:guide id="3" pos="2880">
          <p15:clr>
            <a:srgbClr val="FBAE40"/>
          </p15:clr>
        </p15:guide>
        <p15:guide id="4" pos="268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下横杠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28650" y="273846"/>
            <a:ext cx="7886700" cy="99417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463551" y="2101453"/>
            <a:ext cx="8185150" cy="263247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8651" y="1377554"/>
            <a:ext cx="6518275" cy="736600"/>
          </a:xfrm>
        </p:spPr>
        <p:txBody>
          <a:bodyPr/>
          <a:lstStyle>
            <a:lvl1pPr>
              <a:defRPr sz="1600"/>
            </a:lvl1pPr>
            <a:lvl2pPr>
              <a:spcBef>
                <a:spcPts val="0"/>
              </a:spcBef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78168" y="4730751"/>
            <a:ext cx="302283" cy="27384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700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2942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lor Breaker-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百威亚太VI-31.jpg" descr="百威亚太VI-31.jpg">
            <a:extLst>
              <a:ext uri="{FF2B5EF4-FFF2-40B4-BE49-F238E27FC236}">
                <a16:creationId xmlns:a16="http://schemas.microsoft.com/office/drawing/2014/main" id="{91911102-A1F6-4426-AADA-4CA8D59DAE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81" y="-11441"/>
            <a:ext cx="9179894" cy="5166382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967067"/>
            <a:ext cx="7886700" cy="1209368"/>
          </a:xfrm>
        </p:spPr>
        <p:txBody>
          <a:bodyPr anchor="ctr" anchorCtr="0">
            <a:normAutofit/>
          </a:bodyPr>
          <a:lstStyle>
            <a:lvl1pPr algn="ctr">
              <a:defRPr sz="405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1085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C399BE-AC9D-4724-A085-1A29196D21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7101617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03" imgH="503" progId="TCLayout.ActiveDocument.1">
                  <p:embed/>
                </p:oleObj>
              </mc:Choice>
              <mc:Fallback>
                <p:oleObj name="think-cell Slide" r:id="rId17" imgW="503" imgH="5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C399BE-AC9D-4724-A085-1A29196D21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92742C8-B725-47E7-9E44-35377A811CB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1" name="百威亚太VI-26.jpg" descr="百威亚太VI-26.jpg">
            <a:extLst>
              <a:ext uri="{FF2B5EF4-FFF2-40B4-BE49-F238E27FC236}">
                <a16:creationId xmlns:a16="http://schemas.microsoft.com/office/drawing/2014/main" id="{41F90AF8-9860-4FC9-BD49-F168F37A0969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6"/>
            <a:ext cx="7886700" cy="99417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9803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</p:sldLayoutIdLst>
  <p:hf hd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783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None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66693" indent="-117869" algn="l" defTabSz="685783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28615" indent="-171446" algn="l" defTabSz="685783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–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646494" indent="-171446" algn="l" defTabSz="685783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4032">
          <p15:clr>
            <a:srgbClr val="F26B43"/>
          </p15:clr>
        </p15:guide>
        <p15:guide id="1" orient="horz" pos="418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2160">
          <p15:clr>
            <a:srgbClr val="F26B43"/>
          </p15:clr>
        </p15:guide>
        <p15:guide id="4" orient="horz" pos="3138">
          <p15:clr>
            <a:srgbClr val="F26B43"/>
          </p15:clr>
        </p15:guide>
        <p15:guide id="5" orient="horz" pos="1620">
          <p15:clr>
            <a:srgbClr val="F26B43"/>
          </p15:clr>
        </p15:guide>
        <p15:guide id="6" pos="5376">
          <p15:clr>
            <a:srgbClr val="F26B43"/>
          </p15:clr>
        </p15:guide>
        <p15:guide id="7" pos="384">
          <p15:clr>
            <a:srgbClr val="F26B43"/>
          </p15:clr>
        </p15:guide>
        <p15:guide id="8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20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3844419C-03AD-D255-94DD-DCBA213B6C1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126B2518-C3A4-5088-F47D-DE3815711C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7BC56D9E-0785-7500-19F0-1AEEDEBE874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842375" y="4730750"/>
            <a:ext cx="301625" cy="274638"/>
          </a:xfrm>
          <a:prstGeom prst="rect">
            <a:avLst/>
          </a:prstGeom>
        </p:spPr>
        <p:txBody>
          <a:bodyPr/>
          <a:lstStyle/>
          <a:p>
            <a:fld id="{449EE1FA-814C-4BDC-9591-31839B5CF71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156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5">
            <a:extLst>
              <a:ext uri="{FF2B5EF4-FFF2-40B4-BE49-F238E27FC236}">
                <a16:creationId xmlns:a16="http://schemas.microsoft.com/office/drawing/2014/main" id="{EAC633D6-43FA-984B-BDE3-E41E0475C53F}"/>
              </a:ext>
            </a:extLst>
          </p:cNvPr>
          <p:cNvSpPr txBox="1"/>
          <p:nvPr/>
        </p:nvSpPr>
        <p:spPr>
          <a:xfrm>
            <a:off x="241909" y="142315"/>
            <a:ext cx="79844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rgbClr val="C00000"/>
                </a:solidFill>
              </a:rPr>
              <a:t>Pre-2024 Data simulation of WS</a:t>
            </a:r>
            <a:endParaRPr lang="zh-CN" altLang="en-US" sz="1600" b="1" dirty="0">
              <a:solidFill>
                <a:srgbClr val="C00000"/>
              </a:solidFill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C901C46-4349-3006-4C9A-BA8104D1A633}"/>
              </a:ext>
            </a:extLst>
          </p:cNvPr>
          <p:cNvSpPr txBox="1"/>
          <p:nvPr/>
        </p:nvSpPr>
        <p:spPr>
          <a:xfrm>
            <a:off x="241909" y="382197"/>
            <a:ext cx="81421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i="1" dirty="0"/>
              <a:t>FIFO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method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is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leveraged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to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simulate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inventory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balance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based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on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confirmed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data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scope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and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logic</a:t>
            </a:r>
            <a:r>
              <a:rPr lang="zh-CN" altLang="en-US" sz="1100" i="1" dirty="0"/>
              <a:t>，</a:t>
            </a:r>
            <a:r>
              <a:rPr lang="en-US" altLang="zh-CN" sz="1100" i="1" dirty="0"/>
              <a:t>and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overview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of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results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will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be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provided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for</a:t>
            </a:r>
            <a:r>
              <a:rPr lang="zh-CN" altLang="en-US" sz="1100" i="1" dirty="0"/>
              <a:t> </a:t>
            </a:r>
            <a:r>
              <a:rPr lang="en-US" altLang="zh-CN" sz="1100" i="1" dirty="0"/>
              <a:t>reference.</a:t>
            </a:r>
            <a:r>
              <a:rPr lang="zh-CN" altLang="en-US" sz="1100" i="1" dirty="0"/>
              <a:t> </a:t>
            </a:r>
          </a:p>
        </p:txBody>
      </p:sp>
      <p:cxnSp>
        <p:nvCxnSpPr>
          <p:cNvPr id="6" name="直线连接符 5">
            <a:extLst>
              <a:ext uri="{FF2B5EF4-FFF2-40B4-BE49-F238E27FC236}">
                <a16:creationId xmlns:a16="http://schemas.microsoft.com/office/drawing/2014/main" id="{AA104722-7466-540E-FC6E-F26BC3A46FBF}"/>
              </a:ext>
            </a:extLst>
          </p:cNvPr>
          <p:cNvCxnSpPr>
            <a:cxnSpLocks/>
          </p:cNvCxnSpPr>
          <p:nvPr/>
        </p:nvCxnSpPr>
        <p:spPr>
          <a:xfrm>
            <a:off x="293716" y="1102532"/>
            <a:ext cx="4126468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>
            <a:extLst>
              <a:ext uri="{FF2B5EF4-FFF2-40B4-BE49-F238E27FC236}">
                <a16:creationId xmlns:a16="http://schemas.microsoft.com/office/drawing/2014/main" id="{D67994D5-4709-0CAE-98FD-5FC2FA482859}"/>
              </a:ext>
            </a:extLst>
          </p:cNvPr>
          <p:cNvSpPr txBox="1"/>
          <p:nvPr/>
        </p:nvSpPr>
        <p:spPr>
          <a:xfrm>
            <a:off x="1781297" y="845067"/>
            <a:ext cx="13978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b="1" i="1" dirty="0"/>
              <a:t>Data</a:t>
            </a:r>
            <a:r>
              <a:rPr kumimoji="1" lang="zh-CN" altLang="en-US" sz="1200" b="1" i="1" dirty="0"/>
              <a:t> </a:t>
            </a:r>
            <a:r>
              <a:rPr kumimoji="1" lang="en-US" altLang="zh-CN" sz="1200" b="1" i="1" dirty="0"/>
              <a:t>&amp;</a:t>
            </a:r>
            <a:r>
              <a:rPr kumimoji="1" lang="zh-CN" altLang="en-US" sz="1200" b="1" i="1" dirty="0"/>
              <a:t> </a:t>
            </a:r>
            <a:r>
              <a:rPr kumimoji="1" lang="en-US" altLang="zh-CN" sz="1200" b="1" i="1" dirty="0"/>
              <a:t>Logic</a:t>
            </a:r>
            <a:endParaRPr kumimoji="1" lang="zh-CN" altLang="en-US" sz="1200" b="1" i="1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3E3D007-5D33-00A0-2158-D64F0C739E18}"/>
              </a:ext>
            </a:extLst>
          </p:cNvPr>
          <p:cNvSpPr txBox="1"/>
          <p:nvPr/>
        </p:nvSpPr>
        <p:spPr>
          <a:xfrm>
            <a:off x="251675" y="1174958"/>
            <a:ext cx="4168509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200" b="1" dirty="0"/>
              <a:t>Data</a:t>
            </a:r>
            <a:r>
              <a:rPr kumimoji="1" lang="zh-CN" altLang="en-US" sz="1200" b="1" dirty="0"/>
              <a:t> </a:t>
            </a:r>
            <a:r>
              <a:rPr kumimoji="1" lang="en-US" altLang="zh-CN" sz="1200" b="1" dirty="0"/>
              <a:t>Source</a:t>
            </a:r>
            <a:r>
              <a:rPr kumimoji="1" lang="en-US" altLang="zh-CN" sz="1200" dirty="0"/>
              <a:t>: </a:t>
            </a:r>
            <a:r>
              <a:rPr kumimoji="1" lang="en-US" altLang="zh-CN" sz="1100" dirty="0"/>
              <a:t>STW</a:t>
            </a:r>
            <a:r>
              <a:rPr kumimoji="1" lang="zh-CN" altLang="en-US" sz="1100" dirty="0"/>
              <a:t> </a:t>
            </a:r>
            <a:r>
              <a:rPr kumimoji="1" lang="en-US" altLang="zh-CN" sz="1100" dirty="0"/>
              <a:t>&amp;</a:t>
            </a:r>
            <a:r>
              <a:rPr kumimoji="1" lang="zh-CN" altLang="en-US" sz="1100" dirty="0"/>
              <a:t> </a:t>
            </a:r>
            <a:r>
              <a:rPr kumimoji="1" lang="en-US" altLang="zh-CN" sz="1100" dirty="0"/>
              <a:t>STR</a:t>
            </a:r>
            <a:r>
              <a:rPr kumimoji="1" lang="zh-CN" altLang="en-US" sz="1100" dirty="0"/>
              <a:t> </a:t>
            </a:r>
            <a:r>
              <a:rPr kumimoji="1" lang="en-US" altLang="zh-CN" sz="1100" dirty="0"/>
              <a:t>in</a:t>
            </a:r>
            <a:r>
              <a:rPr kumimoji="1" lang="zh-CN" altLang="en-US" sz="1100" dirty="0"/>
              <a:t> </a:t>
            </a:r>
            <a:r>
              <a:rPr kumimoji="1" lang="en-US" altLang="zh-CN" sz="1100" dirty="0"/>
              <a:t>WCCS</a:t>
            </a:r>
            <a:r>
              <a:rPr kumimoji="1" lang="zh-CN" altLang="en-US" sz="1100" dirty="0"/>
              <a:t> </a:t>
            </a:r>
            <a:r>
              <a:rPr kumimoji="1" lang="en-US" altLang="zh-CN" sz="1100" dirty="0"/>
              <a:t>from</a:t>
            </a:r>
            <a:r>
              <a:rPr kumimoji="1" lang="zh-CN" altLang="en-US" sz="1100" dirty="0"/>
              <a:t> </a:t>
            </a:r>
            <a:r>
              <a:rPr kumimoji="1" lang="en-US" altLang="zh-CN" sz="1100" dirty="0"/>
              <a:t>2021 to 20241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200" b="1" dirty="0"/>
              <a:t>SKU</a:t>
            </a:r>
            <a:r>
              <a:rPr kumimoji="1" lang="zh-CN" altLang="en-US" sz="1200" b="1" dirty="0"/>
              <a:t> </a:t>
            </a:r>
            <a:r>
              <a:rPr kumimoji="1" lang="en-US" altLang="zh-CN" sz="1200" b="1" dirty="0"/>
              <a:t>Scope</a:t>
            </a:r>
            <a:r>
              <a:rPr kumimoji="1" lang="en-US" altLang="zh-CN" sz="1200" dirty="0"/>
              <a:t>: </a:t>
            </a:r>
            <a:r>
              <a:rPr kumimoji="1" lang="en" altLang="zh-CN" sz="1100" dirty="0"/>
              <a:t>brand family belongs to “BUD, HBI, HBO, HKOW, and ISP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" altLang="zh-CN" sz="1200" b="1" dirty="0"/>
              <a:t>Calculation</a:t>
            </a:r>
            <a:r>
              <a:rPr kumimoji="1" lang="zh-CN" altLang="en-US" sz="1200" b="1" dirty="0"/>
              <a:t> </a:t>
            </a:r>
            <a:r>
              <a:rPr kumimoji="1" lang="en-US" altLang="zh-CN" sz="1200" b="1" dirty="0"/>
              <a:t>Logic</a:t>
            </a:r>
            <a:r>
              <a:rPr kumimoji="1" lang="en-US" altLang="zh-CN" sz="1200" dirty="0"/>
              <a:t>: </a:t>
            </a:r>
            <a:r>
              <a:rPr kumimoji="1" lang="en-US" altLang="zh-CN" sz="1100" dirty="0"/>
              <a:t>FIF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200" b="1" i="1" dirty="0"/>
              <a:t>Freeze</a:t>
            </a:r>
            <a:r>
              <a:rPr kumimoji="1" lang="zh-CN" altLang="en-US" sz="1200" b="1" dirty="0"/>
              <a:t> </a:t>
            </a:r>
            <a:r>
              <a:rPr kumimoji="1" lang="en-US" altLang="zh-CN" sz="1200" b="1" dirty="0"/>
              <a:t>Cycle</a:t>
            </a:r>
            <a:r>
              <a:rPr kumimoji="1" lang="en-US" altLang="zh-CN" sz="1200" dirty="0"/>
              <a:t>: </a:t>
            </a:r>
            <a:r>
              <a:rPr kumimoji="1" lang="en-US" altLang="zh-CN" sz="1100" i="1" dirty="0"/>
              <a:t>9</a:t>
            </a:r>
            <a:r>
              <a:rPr kumimoji="1" lang="zh-CN" altLang="en-US" sz="1100" i="1" dirty="0"/>
              <a:t> </a:t>
            </a:r>
            <a:r>
              <a:rPr kumimoji="1" lang="en-US" altLang="zh-CN" sz="1100" i="1" dirty="0"/>
              <a:t>months</a:t>
            </a:r>
            <a:r>
              <a:rPr kumimoji="1" lang="zh-CN" altLang="en-US" sz="1100" i="1" dirty="0"/>
              <a:t> </a:t>
            </a:r>
            <a:r>
              <a:rPr kumimoji="1" lang="en-US" altLang="zh-CN" sz="1100" i="1" dirty="0"/>
              <a:t>or</a:t>
            </a:r>
            <a:r>
              <a:rPr kumimoji="1" lang="zh-CN" altLang="en-US" sz="1100" i="1" dirty="0"/>
              <a:t> </a:t>
            </a:r>
            <a:r>
              <a:rPr lang="en-US" altLang="zh-CN" sz="1100" i="1" dirty="0"/>
              <a:t>or based on brand-respective expiration cycle</a:t>
            </a:r>
            <a:endParaRPr kumimoji="1" lang="en-US" altLang="zh-CN" sz="1100" i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200" b="1" dirty="0"/>
              <a:t>Unit</a:t>
            </a:r>
            <a:r>
              <a:rPr kumimoji="1" lang="zh-CN" altLang="en-US" sz="1200" b="1" dirty="0"/>
              <a:t> </a:t>
            </a:r>
            <a:r>
              <a:rPr kumimoji="1" lang="en-US" altLang="zh-CN" sz="1200" b="1" dirty="0"/>
              <a:t>of</a:t>
            </a:r>
            <a:r>
              <a:rPr kumimoji="1" lang="zh-CN" altLang="en-US" sz="1200" b="1" dirty="0"/>
              <a:t> </a:t>
            </a:r>
            <a:r>
              <a:rPr kumimoji="1" lang="en-US" altLang="zh-CN" sz="1200" b="1" dirty="0"/>
              <a:t>Measure</a:t>
            </a:r>
            <a:r>
              <a:rPr kumimoji="1" lang="en-US" altLang="zh-CN" sz="1200" dirty="0"/>
              <a:t>: </a:t>
            </a:r>
            <a:r>
              <a:rPr kumimoji="1" lang="en-US" altLang="zh-CN" sz="1200" dirty="0" err="1"/>
              <a:t>box</a:t>
            </a:r>
            <a:r>
              <a:rPr kumimoji="1" lang="en-US" altLang="zh-CN" sz="1200" dirty="0" err="1">
                <a:sym typeface="Wingdings" panose="05000000000000000000" pitchFamily="2" charset="2"/>
              </a:rPr>
              <a:t></a:t>
            </a:r>
            <a:r>
              <a:rPr kumimoji="1" lang="en-US" altLang="zh-CN" sz="1100" dirty="0" err="1"/>
              <a:t>HL</a:t>
            </a:r>
            <a:endParaRPr kumimoji="1" lang="zh-CN" altLang="en-US" sz="1100" dirty="0"/>
          </a:p>
        </p:txBody>
      </p:sp>
      <p:cxnSp>
        <p:nvCxnSpPr>
          <p:cNvPr id="16" name="直线连接符 15">
            <a:extLst>
              <a:ext uri="{FF2B5EF4-FFF2-40B4-BE49-F238E27FC236}">
                <a16:creationId xmlns:a16="http://schemas.microsoft.com/office/drawing/2014/main" id="{34B42996-ACDC-70D0-4657-7335DD187ED4}"/>
              </a:ext>
            </a:extLst>
          </p:cNvPr>
          <p:cNvCxnSpPr>
            <a:cxnSpLocks/>
          </p:cNvCxnSpPr>
          <p:nvPr/>
        </p:nvCxnSpPr>
        <p:spPr>
          <a:xfrm>
            <a:off x="4555661" y="1102532"/>
            <a:ext cx="4126468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>
            <a:extLst>
              <a:ext uri="{FF2B5EF4-FFF2-40B4-BE49-F238E27FC236}">
                <a16:creationId xmlns:a16="http://schemas.microsoft.com/office/drawing/2014/main" id="{EC66800A-B701-DA0A-40FB-2B2C5F427DA1}"/>
              </a:ext>
            </a:extLst>
          </p:cNvPr>
          <p:cNvSpPr txBox="1"/>
          <p:nvPr/>
        </p:nvSpPr>
        <p:spPr>
          <a:xfrm>
            <a:off x="5676169" y="816239"/>
            <a:ext cx="18760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200" b="1" i="1" dirty="0"/>
              <a:t>Overview</a:t>
            </a:r>
            <a:r>
              <a:rPr kumimoji="1" lang="zh-CN" altLang="en-US" sz="1200" b="1" i="1" dirty="0"/>
              <a:t> </a:t>
            </a:r>
            <a:r>
              <a:rPr kumimoji="1" lang="en-US" altLang="zh-CN" sz="1200" b="1" i="1" dirty="0"/>
              <a:t>of</a:t>
            </a:r>
            <a:r>
              <a:rPr kumimoji="1" lang="zh-CN" altLang="en-US" sz="1200" b="1" i="1" dirty="0"/>
              <a:t> </a:t>
            </a:r>
            <a:r>
              <a:rPr kumimoji="1" lang="en-US" altLang="zh-CN" sz="1200" b="1" i="1" dirty="0"/>
              <a:t>results</a:t>
            </a:r>
            <a:endParaRPr kumimoji="1" lang="zh-CN" altLang="en-US" sz="1200" b="1" i="1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08A30160-FE26-FDF2-7A50-F55AB648D18E}"/>
              </a:ext>
            </a:extLst>
          </p:cNvPr>
          <p:cNvSpPr/>
          <p:nvPr/>
        </p:nvSpPr>
        <p:spPr>
          <a:xfrm>
            <a:off x="4587193" y="1582813"/>
            <a:ext cx="1041681" cy="52600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000" dirty="0">
                <a:solidFill>
                  <a:srgbClr val="000000"/>
                </a:solidFill>
                <a:latin typeface="Arial"/>
              </a:rPr>
              <a:t>Total</a:t>
            </a:r>
            <a:r>
              <a:rPr kumimoji="1" lang="zh-CN" altLang="en-US" sz="10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1" lang="en-US" altLang="zh-CN" sz="1000" dirty="0">
                <a:solidFill>
                  <a:srgbClr val="000000"/>
                </a:solidFill>
                <a:latin typeface="Arial"/>
              </a:rPr>
              <a:t>balance</a:t>
            </a:r>
            <a:r>
              <a:rPr kumimoji="1" lang="zh-CN" altLang="en-US" sz="10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1" lang="en-US" altLang="zh-CN" sz="1000" dirty="0">
                <a:solidFill>
                  <a:srgbClr val="000000"/>
                </a:solidFill>
                <a:latin typeface="Arial"/>
              </a:rPr>
              <a:t>of</a:t>
            </a:r>
            <a:r>
              <a:rPr kumimoji="1" lang="zh-CN" altLang="en-US" sz="10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1" lang="en-US" altLang="zh-CN" sz="1000" dirty="0">
                <a:solidFill>
                  <a:srgbClr val="000000"/>
                </a:solidFill>
                <a:latin typeface="Arial"/>
              </a:rPr>
              <a:t>WS</a:t>
            </a:r>
            <a:r>
              <a:rPr kumimoji="1" lang="zh-CN" altLang="en-US" sz="10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1" lang="en-US" altLang="zh-CN" sz="1000" dirty="0">
                <a:solidFill>
                  <a:srgbClr val="000000"/>
                </a:solidFill>
                <a:latin typeface="Arial"/>
              </a:rPr>
              <a:t>-</a:t>
            </a:r>
            <a:r>
              <a:rPr kumimoji="1" lang="zh-CN" altLang="en-US" sz="10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1" lang="en-US" altLang="zh-CN" sz="1000" dirty="0">
                <a:solidFill>
                  <a:srgbClr val="000000"/>
                </a:solidFill>
                <a:latin typeface="Arial"/>
              </a:rPr>
              <a:t>HL</a:t>
            </a:r>
            <a:endParaRPr kumimoji="1" lang="zh-CN" altLang="en-US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380868FC-CEBA-C304-FD5E-C5BFAB10049D}"/>
              </a:ext>
            </a:extLst>
          </p:cNvPr>
          <p:cNvSpPr/>
          <p:nvPr/>
        </p:nvSpPr>
        <p:spPr>
          <a:xfrm>
            <a:off x="5768137" y="1582813"/>
            <a:ext cx="1692165" cy="52600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000" dirty="0">
                <a:solidFill>
                  <a:srgbClr val="000000"/>
                </a:solidFill>
                <a:latin typeface="Arial"/>
              </a:rPr>
              <a:t>Total</a:t>
            </a:r>
            <a:r>
              <a:rPr kumimoji="1" lang="zh-CN" altLang="en-US" sz="10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1" lang="en-US" altLang="zh-CN" sz="1000" dirty="0">
                <a:solidFill>
                  <a:srgbClr val="000000"/>
                </a:solidFill>
                <a:latin typeface="Arial"/>
              </a:rPr>
              <a:t>balance</a:t>
            </a:r>
          </a:p>
          <a:p>
            <a:pPr algn="ctr"/>
            <a:r>
              <a:rPr kumimoji="1" lang="en-US" altLang="zh-CN" sz="1000" dirty="0">
                <a:solidFill>
                  <a:srgbClr val="000000"/>
                </a:solidFill>
                <a:latin typeface="Arial"/>
              </a:rPr>
              <a:t>Opening</a:t>
            </a:r>
            <a:r>
              <a:rPr kumimoji="1" lang="zh-CN" altLang="en-US" sz="10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1" lang="en-US" altLang="zh-CN" sz="1000" dirty="0">
                <a:solidFill>
                  <a:srgbClr val="000000"/>
                </a:solidFill>
                <a:latin typeface="Arial"/>
              </a:rPr>
              <a:t>balance + STW</a:t>
            </a:r>
            <a:endParaRPr kumimoji="1" lang="zh-CN" altLang="en-US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DD6B7886-E1D5-F380-694D-FFD114150623}"/>
              </a:ext>
            </a:extLst>
          </p:cNvPr>
          <p:cNvSpPr/>
          <p:nvPr/>
        </p:nvSpPr>
        <p:spPr>
          <a:xfrm>
            <a:off x="7599565" y="1582813"/>
            <a:ext cx="1105427" cy="52600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000" dirty="0">
                <a:solidFill>
                  <a:srgbClr val="000000"/>
                </a:solidFill>
                <a:latin typeface="Arial"/>
              </a:rPr>
              <a:t># of batches to be written-off</a:t>
            </a:r>
            <a:endParaRPr kumimoji="1" lang="zh-CN" altLang="en-US" sz="10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2" name="直线连接符 21">
            <a:extLst>
              <a:ext uri="{FF2B5EF4-FFF2-40B4-BE49-F238E27FC236}">
                <a16:creationId xmlns:a16="http://schemas.microsoft.com/office/drawing/2014/main" id="{31DFFCCF-CF86-AD59-2F53-90B4E700C855}"/>
              </a:ext>
            </a:extLst>
          </p:cNvPr>
          <p:cNvCxnSpPr>
            <a:cxnSpLocks/>
          </p:cNvCxnSpPr>
          <p:nvPr/>
        </p:nvCxnSpPr>
        <p:spPr>
          <a:xfrm>
            <a:off x="5831637" y="1850576"/>
            <a:ext cx="1572463" cy="0"/>
          </a:xfrm>
          <a:prstGeom prst="line">
            <a:avLst/>
          </a:prstGeom>
          <a:ln>
            <a:solidFill>
              <a:schemeClr val="accent4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椭圆 23">
            <a:extLst>
              <a:ext uri="{FF2B5EF4-FFF2-40B4-BE49-F238E27FC236}">
                <a16:creationId xmlns:a16="http://schemas.microsoft.com/office/drawing/2014/main" id="{F2D64BC6-8229-08D6-7124-673BF40CD6DD}"/>
              </a:ext>
            </a:extLst>
          </p:cNvPr>
          <p:cNvSpPr/>
          <p:nvPr/>
        </p:nvSpPr>
        <p:spPr>
          <a:xfrm>
            <a:off x="4983717" y="1269003"/>
            <a:ext cx="231221" cy="23032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1</a:t>
            </a:r>
            <a:endParaRPr kumimoji="1" lang="zh-CN" altLang="en-US" sz="1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椭圆 23">
            <a:extLst>
              <a:ext uri="{FF2B5EF4-FFF2-40B4-BE49-F238E27FC236}">
                <a16:creationId xmlns:a16="http://schemas.microsoft.com/office/drawing/2014/main" id="{009BAE85-BF3F-7C16-B635-C8FD00F8F2E3}"/>
              </a:ext>
            </a:extLst>
          </p:cNvPr>
          <p:cNvSpPr/>
          <p:nvPr/>
        </p:nvSpPr>
        <p:spPr>
          <a:xfrm>
            <a:off x="6498608" y="1269003"/>
            <a:ext cx="231221" cy="23032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2</a:t>
            </a:r>
            <a:endParaRPr kumimoji="1" lang="zh-CN" altLang="en-US" sz="1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椭圆 23">
            <a:extLst>
              <a:ext uri="{FF2B5EF4-FFF2-40B4-BE49-F238E27FC236}">
                <a16:creationId xmlns:a16="http://schemas.microsoft.com/office/drawing/2014/main" id="{D6696DC9-35AC-FDA3-B21A-DEEEE8E4DF9F}"/>
              </a:ext>
            </a:extLst>
          </p:cNvPr>
          <p:cNvSpPr/>
          <p:nvPr/>
        </p:nvSpPr>
        <p:spPr>
          <a:xfrm>
            <a:off x="8046938" y="1269003"/>
            <a:ext cx="231221" cy="23032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3</a:t>
            </a:r>
            <a:endParaRPr kumimoji="1" lang="zh-CN" altLang="en-US" sz="1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5BA35EA-6E3F-47B4-6751-BAB991AD57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716" y="2477242"/>
            <a:ext cx="2890703" cy="99228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BAB51F58-6597-ADFC-5F02-890140ABD05F}"/>
              </a:ext>
            </a:extLst>
          </p:cNvPr>
          <p:cNvGrpSpPr/>
          <p:nvPr/>
        </p:nvGrpSpPr>
        <p:grpSpPr>
          <a:xfrm>
            <a:off x="1974199" y="2831630"/>
            <a:ext cx="4168510" cy="1050621"/>
            <a:chOff x="293716" y="2620877"/>
            <a:chExt cx="4805611" cy="1211194"/>
          </a:xfrm>
        </p:grpSpPr>
        <p:pic>
          <p:nvPicPr>
            <p:cNvPr id="27" name="图片 26">
              <a:extLst>
                <a:ext uri="{FF2B5EF4-FFF2-40B4-BE49-F238E27FC236}">
                  <a16:creationId xmlns:a16="http://schemas.microsoft.com/office/drawing/2014/main" id="{4FDA8EFA-0C0F-0C7D-D5AE-B323FED8C1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3716" y="2620877"/>
              <a:ext cx="4767959" cy="1211194"/>
            </a:xfrm>
            <a:prstGeom prst="rect">
              <a:avLst/>
            </a:prstGeom>
          </p:spPr>
        </p:pic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7703F0C6-94AF-434A-6242-4040C6BBD843}"/>
                </a:ext>
              </a:extLst>
            </p:cNvPr>
            <p:cNvSpPr/>
            <p:nvPr/>
          </p:nvSpPr>
          <p:spPr>
            <a:xfrm>
              <a:off x="4131587" y="3492044"/>
              <a:ext cx="967740" cy="135114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 w="38100">
              <a:solidFill>
                <a:srgbClr val="D00A2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75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1" name="椭圆 23">
            <a:extLst>
              <a:ext uri="{FF2B5EF4-FFF2-40B4-BE49-F238E27FC236}">
                <a16:creationId xmlns:a16="http://schemas.microsoft.com/office/drawing/2014/main" id="{FA62F586-092D-6F12-8DC3-D644DA0E72AC}"/>
              </a:ext>
            </a:extLst>
          </p:cNvPr>
          <p:cNvSpPr/>
          <p:nvPr/>
        </p:nvSpPr>
        <p:spPr>
          <a:xfrm>
            <a:off x="251675" y="2446413"/>
            <a:ext cx="154725" cy="15412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3</a:t>
            </a:r>
            <a:endParaRPr kumimoji="1" lang="zh-CN" altLang="en-US" sz="1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4ECA39-1F1B-0CC6-1744-3EB0DA5DAB2F}"/>
              </a:ext>
            </a:extLst>
          </p:cNvPr>
          <p:cNvSpPr/>
          <p:nvPr/>
        </p:nvSpPr>
        <p:spPr>
          <a:xfrm>
            <a:off x="404019" y="2463140"/>
            <a:ext cx="660400" cy="12543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700" b="1" dirty="0">
                <a:solidFill>
                  <a:schemeClr val="bg1"/>
                </a:solidFill>
                <a:latin typeface="Century Gothic" panose="020B0502020202020204" pitchFamily="34" charset="0"/>
              </a:rPr>
              <a:t>No batch</a:t>
            </a:r>
            <a:endParaRPr kumimoji="1" lang="zh-CN" altLang="en-US" sz="7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9" name="椭圆 23">
            <a:extLst>
              <a:ext uri="{FF2B5EF4-FFF2-40B4-BE49-F238E27FC236}">
                <a16:creationId xmlns:a16="http://schemas.microsoft.com/office/drawing/2014/main" id="{C21E933E-2918-46D8-9525-854544250CC5}"/>
              </a:ext>
            </a:extLst>
          </p:cNvPr>
          <p:cNvSpPr/>
          <p:nvPr/>
        </p:nvSpPr>
        <p:spPr>
          <a:xfrm>
            <a:off x="1964558" y="2799553"/>
            <a:ext cx="154725" cy="15412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3</a:t>
            </a:r>
            <a:endParaRPr kumimoji="1" lang="zh-CN" altLang="en-US" sz="1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C28B5E6-BD55-9B75-92DB-0DF3519BA78E}"/>
              </a:ext>
            </a:extLst>
          </p:cNvPr>
          <p:cNvSpPr/>
          <p:nvPr/>
        </p:nvSpPr>
        <p:spPr>
          <a:xfrm>
            <a:off x="2116902" y="2816280"/>
            <a:ext cx="833467" cy="12543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7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 few batches</a:t>
            </a:r>
            <a:endParaRPr kumimoji="1" lang="zh-CN" altLang="en-US" sz="7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F0161EE-E390-2EB9-1164-CDE9A1F393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2124" y="3752108"/>
            <a:ext cx="4937760" cy="1172274"/>
          </a:xfrm>
          <a:prstGeom prst="rect">
            <a:avLst/>
          </a:prstGeom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58366337-5333-2E83-2D6E-1062432F4E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68311" y="4727340"/>
            <a:ext cx="302283" cy="273845"/>
          </a:xfrm>
        </p:spPr>
        <p:txBody>
          <a:bodyPr/>
          <a:lstStyle/>
          <a:p>
            <a:fld id="{449EE1FA-814C-4BDC-9591-31839B5CF71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1" name="矩形 27">
            <a:extLst>
              <a:ext uri="{FF2B5EF4-FFF2-40B4-BE49-F238E27FC236}">
                <a16:creationId xmlns:a16="http://schemas.microsoft.com/office/drawing/2014/main" id="{0F71638F-83AC-7B84-989D-2AC37A899A27}"/>
              </a:ext>
            </a:extLst>
          </p:cNvPr>
          <p:cNvSpPr/>
          <p:nvPr/>
        </p:nvSpPr>
        <p:spPr>
          <a:xfrm>
            <a:off x="5608136" y="4079644"/>
            <a:ext cx="3427913" cy="207347"/>
          </a:xfrm>
          <a:prstGeom prst="rect">
            <a:avLst/>
          </a:prstGeom>
          <a:solidFill>
            <a:schemeClr val="accent1">
              <a:alpha val="0"/>
            </a:schemeClr>
          </a:solidFill>
          <a:ln w="38100">
            <a:solidFill>
              <a:srgbClr val="D00A2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矩形 27">
            <a:extLst>
              <a:ext uri="{FF2B5EF4-FFF2-40B4-BE49-F238E27FC236}">
                <a16:creationId xmlns:a16="http://schemas.microsoft.com/office/drawing/2014/main" id="{8C5E0DB3-1B13-9BDC-BEEE-BBB9A35408F9}"/>
              </a:ext>
            </a:extLst>
          </p:cNvPr>
          <p:cNvSpPr/>
          <p:nvPr/>
        </p:nvSpPr>
        <p:spPr>
          <a:xfrm>
            <a:off x="6991350" y="4443190"/>
            <a:ext cx="2044699" cy="528796"/>
          </a:xfrm>
          <a:prstGeom prst="rect">
            <a:avLst/>
          </a:prstGeom>
          <a:solidFill>
            <a:schemeClr val="accent1">
              <a:alpha val="0"/>
            </a:schemeClr>
          </a:solidFill>
          <a:ln w="38100">
            <a:solidFill>
              <a:srgbClr val="D00A2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椭圆 23">
            <a:extLst>
              <a:ext uri="{FF2B5EF4-FFF2-40B4-BE49-F238E27FC236}">
                <a16:creationId xmlns:a16="http://schemas.microsoft.com/office/drawing/2014/main" id="{5797A92B-B3D5-F210-D7F6-8EE7597B524F}"/>
              </a:ext>
            </a:extLst>
          </p:cNvPr>
          <p:cNvSpPr/>
          <p:nvPr/>
        </p:nvSpPr>
        <p:spPr>
          <a:xfrm>
            <a:off x="4042124" y="3740091"/>
            <a:ext cx="154725" cy="15412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3</a:t>
            </a:r>
            <a:endParaRPr kumimoji="1" lang="zh-CN" altLang="en-US" sz="1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D18703C-DF45-C0B0-E0E9-EAE8A30ADCCA}"/>
              </a:ext>
            </a:extLst>
          </p:cNvPr>
          <p:cNvSpPr/>
          <p:nvPr/>
        </p:nvSpPr>
        <p:spPr>
          <a:xfrm>
            <a:off x="4194469" y="3756818"/>
            <a:ext cx="1020470" cy="12543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7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ajority of batches</a:t>
            </a:r>
            <a:endParaRPr kumimoji="1" lang="zh-CN" altLang="en-US" sz="7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矩形 19">
            <a:extLst>
              <a:ext uri="{FF2B5EF4-FFF2-40B4-BE49-F238E27FC236}">
                <a16:creationId xmlns:a16="http://schemas.microsoft.com/office/drawing/2014/main" id="{A82586F2-FF2E-ACF6-F711-0CEEADB684A5}"/>
              </a:ext>
            </a:extLst>
          </p:cNvPr>
          <p:cNvSpPr/>
          <p:nvPr/>
        </p:nvSpPr>
        <p:spPr>
          <a:xfrm>
            <a:off x="4587193" y="2183977"/>
            <a:ext cx="4117799" cy="49145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000" b="1" dirty="0">
                <a:solidFill>
                  <a:schemeClr val="bg1"/>
                </a:solidFill>
                <a:latin typeface="Arial"/>
              </a:rPr>
              <a:t>E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000" dirty="0">
                <a:solidFill>
                  <a:schemeClr val="bg1"/>
                </a:solidFill>
                <a:latin typeface="Arial"/>
              </a:rPr>
              <a:t>Batch I: 3WS adjust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000" dirty="0">
                <a:solidFill>
                  <a:schemeClr val="bg1"/>
                </a:solidFill>
                <a:latin typeface="Arial"/>
              </a:rPr>
              <a:t>Batch II: national WS – t+10</a:t>
            </a:r>
            <a:r>
              <a:rPr kumimoji="1" lang="zh-CN" altLang="en-US" sz="1000" dirty="0">
                <a:solidFill>
                  <a:schemeClr val="bg1"/>
                </a:solidFill>
                <a:latin typeface="Arial"/>
              </a:rPr>
              <a:t> </a:t>
            </a:r>
            <a:r>
              <a:rPr kumimoji="1" lang="en-US" altLang="zh-CN" sz="1000" dirty="0">
                <a:solidFill>
                  <a:schemeClr val="bg1"/>
                </a:solidFill>
                <a:latin typeface="Arial"/>
              </a:rPr>
              <a:t>of</a:t>
            </a:r>
            <a:r>
              <a:rPr kumimoji="1" lang="zh-CN" altLang="en-US" sz="1000" dirty="0">
                <a:solidFill>
                  <a:schemeClr val="bg1"/>
                </a:solidFill>
                <a:latin typeface="Arial"/>
              </a:rPr>
              <a:t> </a:t>
            </a:r>
            <a:r>
              <a:rPr kumimoji="1" lang="en-US" altLang="zh-CN" sz="1000" dirty="0">
                <a:solidFill>
                  <a:schemeClr val="bg1"/>
                </a:solidFill>
                <a:latin typeface="Arial"/>
              </a:rPr>
              <a:t>frozen</a:t>
            </a:r>
            <a:r>
              <a:rPr kumimoji="1" lang="zh-CN" altLang="en-US" sz="1000" dirty="0">
                <a:solidFill>
                  <a:schemeClr val="bg1"/>
                </a:solidFill>
                <a:latin typeface="Arial"/>
              </a:rPr>
              <a:t> </a:t>
            </a:r>
            <a:r>
              <a:rPr kumimoji="1" lang="en-US" altLang="zh-CN" sz="1000" dirty="0">
                <a:solidFill>
                  <a:schemeClr val="bg1"/>
                </a:solidFill>
                <a:latin typeface="Arial"/>
              </a:rPr>
              <a:t>cycle</a:t>
            </a:r>
            <a:r>
              <a:rPr kumimoji="1" lang="zh-CN" altLang="en-US" sz="1000" dirty="0">
                <a:solidFill>
                  <a:schemeClr val="bg1"/>
                </a:solidFill>
                <a:latin typeface="Arial"/>
              </a:rPr>
              <a:t> </a:t>
            </a:r>
            <a:r>
              <a:rPr kumimoji="1" lang="en-US" altLang="zh-CN" sz="1000" dirty="0">
                <a:solidFill>
                  <a:schemeClr val="bg1"/>
                </a:solidFill>
                <a:latin typeface="Arial"/>
              </a:rPr>
              <a:t>confirmation</a:t>
            </a:r>
            <a:endParaRPr kumimoji="1" lang="zh-CN" altLang="en-US" sz="1000" dirty="0">
              <a:solidFill>
                <a:schemeClr val="bg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651120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283E51B-162C-2533-A994-14052591E6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49EE1FA-814C-4BDC-9591-31839B5CF716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59FD385B-598F-5FC5-A442-2B2B3A88FDF5}"/>
              </a:ext>
            </a:extLst>
          </p:cNvPr>
          <p:cNvSpPr txBox="1"/>
          <p:nvPr/>
        </p:nvSpPr>
        <p:spPr>
          <a:xfrm>
            <a:off x="178285" y="177328"/>
            <a:ext cx="86337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rgbClr val="C00000"/>
                </a:solidFill>
              </a:rPr>
              <a:t>A wholesaler who directly gets beer from ABI, can be further divided into 2 types:</a:t>
            </a:r>
            <a:endParaRPr lang="zh-CN" altLang="en-US" sz="1600" b="1" dirty="0">
              <a:solidFill>
                <a:srgbClr val="C00000"/>
              </a:solidFill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A212F74-09F6-979B-BB06-B2526A745AB8}"/>
              </a:ext>
            </a:extLst>
          </p:cNvPr>
          <p:cNvSpPr txBox="1"/>
          <p:nvPr/>
        </p:nvSpPr>
        <p:spPr>
          <a:xfrm>
            <a:off x="5257192" y="1980099"/>
            <a:ext cx="19147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i="1" dirty="0">
                <a:latin typeface="Calibri" panose="020F0502020204030204" pitchFamily="34" charset="0"/>
                <a:cs typeface="Calibri" panose="020F0502020204030204" pitchFamily="34" charset="0"/>
              </a:rPr>
              <a:t>For a T1 WS, STR Calculated =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6B97E61-481A-C3D5-B827-D2462CED6D20}"/>
              </a:ext>
            </a:extLst>
          </p:cNvPr>
          <p:cNvSpPr txBox="1"/>
          <p:nvPr/>
        </p:nvSpPr>
        <p:spPr>
          <a:xfrm>
            <a:off x="178285" y="3925529"/>
            <a:ext cx="474429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100" b="1" dirty="0">
                <a:latin typeface="Calibri" panose="020F0502020204030204" pitchFamily="34" charset="0"/>
                <a:cs typeface="Calibri" panose="020F0502020204030204" pitchFamily="34" charset="0"/>
              </a:rPr>
              <a:t>For a T1 wholesaler: </a:t>
            </a:r>
            <a:endParaRPr kumimoji="1" lang="en-US" altLang="zh-CN" sz="11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rPr>
              <a:t>Could only get beer from AB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rPr>
              <a:t>Could send beer to a T1.5 wholesaler, to a T2 wholesaler, or directly to POCs</a:t>
            </a:r>
          </a:p>
        </p:txBody>
      </p:sp>
      <p:pic>
        <p:nvPicPr>
          <p:cNvPr id="9" name="图片 8" descr="形状&#10;&#10;低可信度描述已自动生成">
            <a:extLst>
              <a:ext uri="{FF2B5EF4-FFF2-40B4-BE49-F238E27FC236}">
                <a16:creationId xmlns:a16="http://schemas.microsoft.com/office/drawing/2014/main" id="{96806093-10FA-DA33-9E4E-DB0C0C300C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4055" y="2968940"/>
            <a:ext cx="270353" cy="270353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11CBA036-DE14-78E6-B34F-ED028D11AE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446" y="2494576"/>
            <a:ext cx="714424" cy="243318"/>
          </a:xfrm>
          <a:prstGeom prst="rect">
            <a:avLst/>
          </a:prstGeom>
        </p:spPr>
      </p:pic>
      <p:pic>
        <p:nvPicPr>
          <p:cNvPr id="13" name="图片 12" descr="形状&#10;&#10;低可信度描述已自动生成">
            <a:extLst>
              <a:ext uri="{FF2B5EF4-FFF2-40B4-BE49-F238E27FC236}">
                <a16:creationId xmlns:a16="http://schemas.microsoft.com/office/drawing/2014/main" id="{64775965-D505-1ECD-C01A-0333E69729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4004" y="2481732"/>
            <a:ext cx="270353" cy="270353"/>
          </a:xfrm>
          <a:prstGeom prst="rect">
            <a:avLst/>
          </a:prstGeom>
        </p:spPr>
      </p:pic>
      <p:pic>
        <p:nvPicPr>
          <p:cNvPr id="14" name="图片 13" descr="图片包含 徽标&#10;&#10;描述已自动生成">
            <a:extLst>
              <a:ext uri="{FF2B5EF4-FFF2-40B4-BE49-F238E27FC236}">
                <a16:creationId xmlns:a16="http://schemas.microsoft.com/office/drawing/2014/main" id="{B3E3D8F7-C1AC-5787-FD38-A28ED5E7BE2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9087" y="2494576"/>
            <a:ext cx="270353" cy="244664"/>
          </a:xfrm>
          <a:prstGeom prst="rect">
            <a:avLst/>
          </a:prstGeom>
        </p:spPr>
      </p:pic>
      <p:pic>
        <p:nvPicPr>
          <p:cNvPr id="16" name="图片 15" descr="图片包含 徽标&#10;&#10;描述已自动生成">
            <a:extLst>
              <a:ext uri="{FF2B5EF4-FFF2-40B4-BE49-F238E27FC236}">
                <a16:creationId xmlns:a16="http://schemas.microsoft.com/office/drawing/2014/main" id="{ECF5B72E-9AE4-720D-4BAE-4A17DFC617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9087" y="2981785"/>
            <a:ext cx="270353" cy="244664"/>
          </a:xfrm>
          <a:prstGeom prst="rect">
            <a:avLst/>
          </a:prstGeom>
        </p:spPr>
      </p:pic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AC2D3152-4152-8F1F-685C-F743F313A19C}"/>
              </a:ext>
            </a:extLst>
          </p:cNvPr>
          <p:cNvCxnSpPr>
            <a:cxnSpLocks/>
            <a:stCxn id="12" idx="3"/>
            <a:endCxn id="61" idx="1"/>
          </p:cNvCxnSpPr>
          <p:nvPr/>
        </p:nvCxnSpPr>
        <p:spPr>
          <a:xfrm>
            <a:off x="944870" y="2616235"/>
            <a:ext cx="608288" cy="67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箭头连接符 27">
            <a:extLst>
              <a:ext uri="{FF2B5EF4-FFF2-40B4-BE49-F238E27FC236}">
                <a16:creationId xmlns:a16="http://schemas.microsoft.com/office/drawing/2014/main" id="{0967E347-2CE0-137F-7192-56AEDCFDF814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>
            <a:off x="2844358" y="2616908"/>
            <a:ext cx="1244729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箭头连接符 32">
            <a:extLst>
              <a:ext uri="{FF2B5EF4-FFF2-40B4-BE49-F238E27FC236}">
                <a16:creationId xmlns:a16="http://schemas.microsoft.com/office/drawing/2014/main" id="{BCC77066-16CF-3C65-ECAD-72D5F15BA51F}"/>
              </a:ext>
            </a:extLst>
          </p:cNvPr>
          <p:cNvCxnSpPr>
            <a:cxnSpLocks/>
            <a:stCxn id="9" idx="3"/>
            <a:endCxn id="16" idx="1"/>
          </p:cNvCxnSpPr>
          <p:nvPr/>
        </p:nvCxnSpPr>
        <p:spPr>
          <a:xfrm>
            <a:off x="3524408" y="3104117"/>
            <a:ext cx="564679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箭头连接符 56">
            <a:extLst>
              <a:ext uri="{FF2B5EF4-FFF2-40B4-BE49-F238E27FC236}">
                <a16:creationId xmlns:a16="http://schemas.microsoft.com/office/drawing/2014/main" id="{95B990C1-0758-8EAE-1867-4D285E368E21}"/>
              </a:ext>
            </a:extLst>
          </p:cNvPr>
          <p:cNvCxnSpPr>
            <a:cxnSpLocks/>
            <a:stCxn id="61" idx="3"/>
            <a:endCxn id="13" idx="1"/>
          </p:cNvCxnSpPr>
          <p:nvPr/>
        </p:nvCxnSpPr>
        <p:spPr>
          <a:xfrm>
            <a:off x="1823511" y="2616909"/>
            <a:ext cx="750493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图片 60" descr="图标&#10;&#10;描述已自动生成">
            <a:extLst>
              <a:ext uri="{FF2B5EF4-FFF2-40B4-BE49-F238E27FC236}">
                <a16:creationId xmlns:a16="http://schemas.microsoft.com/office/drawing/2014/main" id="{BA5C1084-5B23-76E5-0036-AFAD8290E5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3158" y="2498850"/>
            <a:ext cx="270353" cy="236117"/>
          </a:xfrm>
          <a:prstGeom prst="rect">
            <a:avLst/>
          </a:prstGeom>
        </p:spPr>
      </p:pic>
      <p:sp>
        <p:nvSpPr>
          <p:cNvPr id="67" name="矩形: 圆角 66">
            <a:extLst>
              <a:ext uri="{FF2B5EF4-FFF2-40B4-BE49-F238E27FC236}">
                <a16:creationId xmlns:a16="http://schemas.microsoft.com/office/drawing/2014/main" id="{0B49CA2A-BCE6-A620-ECEB-903E19781069}"/>
              </a:ext>
            </a:extLst>
          </p:cNvPr>
          <p:cNvSpPr/>
          <p:nvPr/>
        </p:nvSpPr>
        <p:spPr>
          <a:xfrm>
            <a:off x="1466518" y="2436385"/>
            <a:ext cx="382487" cy="351459"/>
          </a:xfrm>
          <a:prstGeom prst="roundRect">
            <a:avLst/>
          </a:prstGeom>
          <a:noFill/>
          <a:ln>
            <a:solidFill>
              <a:srgbClr val="FFC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0B97CD5C-2C9E-0594-178F-DCB75A7A9961}"/>
              </a:ext>
            </a:extLst>
          </p:cNvPr>
          <p:cNvSpPr txBox="1"/>
          <p:nvPr/>
        </p:nvSpPr>
        <p:spPr>
          <a:xfrm>
            <a:off x="1466518" y="2782900"/>
            <a:ext cx="382488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altLang="zh-CN" sz="800" b="1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1 WS</a:t>
            </a:r>
            <a:endParaRPr lang="zh-CN" altLang="en-US" sz="800" b="1" dirty="0">
              <a:solidFill>
                <a:srgbClr val="FFC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176BB108-A246-B0B5-415F-04FA4FF5BCF3}"/>
              </a:ext>
            </a:extLst>
          </p:cNvPr>
          <p:cNvSpPr txBox="1"/>
          <p:nvPr/>
        </p:nvSpPr>
        <p:spPr>
          <a:xfrm>
            <a:off x="2502147" y="2216123"/>
            <a:ext cx="382488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altLang="zh-CN" sz="800" b="1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1.5 WS</a:t>
            </a:r>
            <a:endParaRPr lang="zh-CN" altLang="en-US" sz="800" b="1" dirty="0">
              <a:solidFill>
                <a:srgbClr val="FFC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32D7328F-774A-D589-503A-972F870B8C97}"/>
              </a:ext>
            </a:extLst>
          </p:cNvPr>
          <p:cNvSpPr txBox="1"/>
          <p:nvPr/>
        </p:nvSpPr>
        <p:spPr>
          <a:xfrm>
            <a:off x="3197987" y="3228251"/>
            <a:ext cx="382488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altLang="zh-CN" sz="800" b="1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2 WS</a:t>
            </a:r>
            <a:endParaRPr lang="zh-CN" altLang="en-US" sz="800" b="1" dirty="0">
              <a:solidFill>
                <a:srgbClr val="FFC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6965010C-1861-0013-A423-35F1FE430D6E}"/>
              </a:ext>
            </a:extLst>
          </p:cNvPr>
          <p:cNvSpPr txBox="1"/>
          <p:nvPr/>
        </p:nvSpPr>
        <p:spPr>
          <a:xfrm>
            <a:off x="4307507" y="2536011"/>
            <a:ext cx="382488" cy="16179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POC</a:t>
            </a:r>
            <a:endParaRPr lang="zh-CN" altLang="en-US"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8EAE5F9B-2627-671F-AB05-ABE2D6EB9C7D}"/>
              </a:ext>
            </a:extLst>
          </p:cNvPr>
          <p:cNvSpPr txBox="1"/>
          <p:nvPr/>
        </p:nvSpPr>
        <p:spPr>
          <a:xfrm>
            <a:off x="4295037" y="3023220"/>
            <a:ext cx="382488" cy="16179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POC</a:t>
            </a:r>
            <a:endParaRPr lang="zh-CN" altLang="en-US"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6" name="图片 75" descr="图片包含 徽标&#10;&#10;描述已自动生成">
            <a:extLst>
              <a:ext uri="{FF2B5EF4-FFF2-40B4-BE49-F238E27FC236}">
                <a16:creationId xmlns:a16="http://schemas.microsoft.com/office/drawing/2014/main" id="{724DB762-6CBF-E33B-FFFD-89ECD9C563E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9087" y="3468994"/>
            <a:ext cx="270353" cy="244664"/>
          </a:xfrm>
          <a:prstGeom prst="rect">
            <a:avLst/>
          </a:prstGeom>
        </p:spPr>
      </p:pic>
      <p:sp>
        <p:nvSpPr>
          <p:cNvPr id="77" name="文本框 76">
            <a:extLst>
              <a:ext uri="{FF2B5EF4-FFF2-40B4-BE49-F238E27FC236}">
                <a16:creationId xmlns:a16="http://schemas.microsoft.com/office/drawing/2014/main" id="{2F5D2957-1E47-B4E2-99B0-7A90F0112977}"/>
              </a:ext>
            </a:extLst>
          </p:cNvPr>
          <p:cNvSpPr txBox="1"/>
          <p:nvPr/>
        </p:nvSpPr>
        <p:spPr>
          <a:xfrm>
            <a:off x="4307507" y="3510429"/>
            <a:ext cx="382488" cy="16179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POC</a:t>
            </a:r>
            <a:endParaRPr lang="zh-CN" altLang="en-US"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0" name="连接符: 肘形 89">
            <a:extLst>
              <a:ext uri="{FF2B5EF4-FFF2-40B4-BE49-F238E27FC236}">
                <a16:creationId xmlns:a16="http://schemas.microsoft.com/office/drawing/2014/main" id="{E00BA1C0-55CC-571D-996D-A669F21A4EE8}"/>
              </a:ext>
            </a:extLst>
          </p:cNvPr>
          <p:cNvCxnSpPr>
            <a:cxnSpLocks/>
            <a:stCxn id="68" idx="2"/>
            <a:endCxn id="9" idx="1"/>
          </p:cNvCxnSpPr>
          <p:nvPr/>
        </p:nvCxnSpPr>
        <p:spPr>
          <a:xfrm rot="16200000" flipH="1">
            <a:off x="2403022" y="2253083"/>
            <a:ext cx="105773" cy="1596293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连接符: 肘形 92">
            <a:extLst>
              <a:ext uri="{FF2B5EF4-FFF2-40B4-BE49-F238E27FC236}">
                <a16:creationId xmlns:a16="http://schemas.microsoft.com/office/drawing/2014/main" id="{902FDDD7-9F61-7FD3-D4FC-CFD183B1A3E0}"/>
              </a:ext>
            </a:extLst>
          </p:cNvPr>
          <p:cNvCxnSpPr>
            <a:cxnSpLocks/>
            <a:stCxn id="68" idx="2"/>
            <a:endCxn id="76" idx="1"/>
          </p:cNvCxnSpPr>
          <p:nvPr/>
        </p:nvCxnSpPr>
        <p:spPr>
          <a:xfrm rot="16200000" flipH="1">
            <a:off x="2576933" y="2079172"/>
            <a:ext cx="592982" cy="2431325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>
            <a:extLst>
              <a:ext uri="{FF2B5EF4-FFF2-40B4-BE49-F238E27FC236}">
                <a16:creationId xmlns:a16="http://schemas.microsoft.com/office/drawing/2014/main" id="{F00A4CC6-E47D-5F79-99ED-2ABB1A379257}"/>
              </a:ext>
            </a:extLst>
          </p:cNvPr>
          <p:cNvSpPr txBox="1"/>
          <p:nvPr/>
        </p:nvSpPr>
        <p:spPr>
          <a:xfrm>
            <a:off x="638064" y="2347393"/>
            <a:ext cx="864000" cy="195814"/>
          </a:xfrm>
          <a:prstGeom prst="rect">
            <a:avLst/>
          </a:prstGeom>
          <a:noFill/>
        </p:spPr>
        <p:txBody>
          <a:bodyPr wrap="square" lIns="0" tIns="36000" rIns="0" bIns="36000" rtlCol="0">
            <a:spAutoFit/>
          </a:bodyPr>
          <a:lstStyle/>
          <a:p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Case to T1: </a:t>
            </a:r>
            <a:r>
              <a:rPr kumimoji="1" lang="en-US" altLang="zh-CN" sz="8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7%</a:t>
            </a:r>
          </a:p>
        </p:txBody>
      </p:sp>
      <p:cxnSp>
        <p:nvCxnSpPr>
          <p:cNvPr id="23" name="直线连接符 5">
            <a:extLst>
              <a:ext uri="{FF2B5EF4-FFF2-40B4-BE49-F238E27FC236}">
                <a16:creationId xmlns:a16="http://schemas.microsoft.com/office/drawing/2014/main" id="{C8251581-8BEA-5751-0A0F-314030EE1CA0}"/>
              </a:ext>
            </a:extLst>
          </p:cNvPr>
          <p:cNvCxnSpPr>
            <a:cxnSpLocks/>
          </p:cNvCxnSpPr>
          <p:nvPr/>
        </p:nvCxnSpPr>
        <p:spPr>
          <a:xfrm>
            <a:off x="312531" y="1463339"/>
            <a:ext cx="4126468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文本框 23">
            <a:extLst>
              <a:ext uri="{FF2B5EF4-FFF2-40B4-BE49-F238E27FC236}">
                <a16:creationId xmlns:a16="http://schemas.microsoft.com/office/drawing/2014/main" id="{47D1D47E-2E4C-DD6B-C8CF-9D6BAA266798}"/>
              </a:ext>
            </a:extLst>
          </p:cNvPr>
          <p:cNvSpPr txBox="1"/>
          <p:nvPr/>
        </p:nvSpPr>
        <p:spPr>
          <a:xfrm>
            <a:off x="1175656" y="1177046"/>
            <a:ext cx="2460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200" b="1" i="1" dirty="0"/>
              <a:t>Business Scenario</a:t>
            </a:r>
            <a:endParaRPr kumimoji="1" lang="zh-CN" altLang="en-US" sz="1200" b="1" i="1" dirty="0"/>
          </a:p>
        </p:txBody>
      </p:sp>
      <p:cxnSp>
        <p:nvCxnSpPr>
          <p:cNvPr id="26" name="直线连接符 15">
            <a:extLst>
              <a:ext uri="{FF2B5EF4-FFF2-40B4-BE49-F238E27FC236}">
                <a16:creationId xmlns:a16="http://schemas.microsoft.com/office/drawing/2014/main" id="{17D694E6-19FC-7760-D239-FE90F14770A9}"/>
              </a:ext>
            </a:extLst>
          </p:cNvPr>
          <p:cNvCxnSpPr>
            <a:cxnSpLocks/>
          </p:cNvCxnSpPr>
          <p:nvPr/>
        </p:nvCxnSpPr>
        <p:spPr>
          <a:xfrm>
            <a:off x="4685568" y="1463339"/>
            <a:ext cx="4126468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文本框 26">
            <a:extLst>
              <a:ext uri="{FF2B5EF4-FFF2-40B4-BE49-F238E27FC236}">
                <a16:creationId xmlns:a16="http://schemas.microsoft.com/office/drawing/2014/main" id="{E62E84A7-418E-8065-9C73-2C056F33AAA7}"/>
              </a:ext>
            </a:extLst>
          </p:cNvPr>
          <p:cNvSpPr txBox="1"/>
          <p:nvPr/>
        </p:nvSpPr>
        <p:spPr>
          <a:xfrm>
            <a:off x="5806076" y="1177046"/>
            <a:ext cx="18760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200" b="1" i="1" dirty="0"/>
              <a:t>Calculation Logic</a:t>
            </a:r>
            <a:endParaRPr kumimoji="1" lang="zh-CN" altLang="en-US" sz="1200" b="1" i="1" dirty="0"/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0A1C06F3-E1B4-BF3F-0F70-935B49B2A207}"/>
              </a:ext>
            </a:extLst>
          </p:cNvPr>
          <p:cNvSpPr txBox="1"/>
          <p:nvPr/>
        </p:nvSpPr>
        <p:spPr>
          <a:xfrm>
            <a:off x="5220128" y="3946431"/>
            <a:ext cx="3554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800" b="1" i="1" dirty="0">
                <a:latin typeface="Calibri" panose="020F0502020204030204" pitchFamily="34" charset="0"/>
                <a:cs typeface="Calibri" panose="020F0502020204030204" pitchFamily="34" charset="0"/>
              </a:rPr>
              <a:t>Note</a:t>
            </a:r>
            <a:r>
              <a:rPr kumimoji="1" lang="en-US" altLang="zh-CN" sz="800" i="1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800" i="1" dirty="0">
                <a:latin typeface="Calibri" panose="020F0502020204030204" pitchFamily="34" charset="0"/>
                <a:cs typeface="Calibri" panose="020F0502020204030204" pitchFamily="34" charset="0"/>
              </a:rPr>
              <a:t>Wholesaler identity could change in the pa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800" i="1" dirty="0">
                <a:latin typeface="Calibri" panose="020F0502020204030204" pitchFamily="34" charset="0"/>
                <a:cs typeface="Calibri" panose="020F0502020204030204" pitchFamily="34" charset="0"/>
              </a:rPr>
              <a:t>SKU mapping relationship could change in the past, e.g., one SKU could come from ABI or T1 WS(s) during different perio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800" i="1" dirty="0">
                <a:latin typeface="Calibri" panose="020F0502020204030204" pitchFamily="34" charset="0"/>
                <a:cs typeface="Calibri" panose="020F0502020204030204" pitchFamily="34" charset="0"/>
              </a:rPr>
              <a:t>If send different batches to POC/T2/T1.5 in the same month, new batches are </a:t>
            </a:r>
            <a:r>
              <a:rPr kumimoji="1" lang="en-US" altLang="zh-CN" sz="800" i="1">
                <a:latin typeface="Calibri" panose="020F0502020204030204" pitchFamily="34" charset="0"/>
                <a:cs typeface="Calibri" panose="020F0502020204030204" pitchFamily="34" charset="0"/>
              </a:rPr>
              <a:t>given priority to T1.5</a:t>
            </a:r>
            <a:endParaRPr kumimoji="1" lang="zh-CN" altLang="en-US" sz="8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BC015B97-B316-8CD7-9A66-FA37219E2DBC}"/>
              </a:ext>
            </a:extLst>
          </p:cNvPr>
          <p:cNvSpPr txBox="1"/>
          <p:nvPr/>
        </p:nvSpPr>
        <p:spPr>
          <a:xfrm>
            <a:off x="5257192" y="2195209"/>
            <a:ext cx="355484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ea"/>
              <a:buAutoNum type="circleNumDbPlain"/>
            </a:pPr>
            <a:r>
              <a: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rPr>
              <a:t>T1 send to POC</a:t>
            </a:r>
          </a:p>
          <a:p>
            <a:pPr marL="228600" indent="-228600">
              <a:buFont typeface="+mj-ea"/>
              <a:buAutoNum type="circleNumDbPlain"/>
            </a:pPr>
            <a:r>
              <a: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rPr>
              <a:t>T1 send to T2</a:t>
            </a:r>
          </a:p>
          <a:p>
            <a:pPr marL="228600" indent="-228600">
              <a:buFont typeface="+mj-ea"/>
              <a:buAutoNum type="circleNumDbPlain"/>
            </a:pPr>
            <a:r>
              <a: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rPr>
              <a:t>T1.5 send to POCs </a:t>
            </a:r>
          </a:p>
        </p:txBody>
      </p:sp>
      <p:sp>
        <p:nvSpPr>
          <p:cNvPr id="32" name="椭圆 31">
            <a:extLst>
              <a:ext uri="{FF2B5EF4-FFF2-40B4-BE49-F238E27FC236}">
                <a16:creationId xmlns:a16="http://schemas.microsoft.com/office/drawing/2014/main" id="{64BEEB26-4E19-CDF4-F59F-C5A75CC4A401}"/>
              </a:ext>
            </a:extLst>
          </p:cNvPr>
          <p:cNvSpPr>
            <a:spLocks noChangeAspect="1"/>
          </p:cNvSpPr>
          <p:nvPr/>
        </p:nvSpPr>
        <p:spPr>
          <a:xfrm>
            <a:off x="3044039" y="2544643"/>
            <a:ext cx="162000" cy="162000"/>
          </a:xfrm>
          <a:prstGeom prst="ellipse">
            <a:avLst/>
          </a:prstGeom>
          <a:solidFill>
            <a:srgbClr val="58C0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endParaRPr lang="zh-CN" altLang="en-US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F20E2DC1-6CF7-E0D9-2AB9-136789AA88D2}"/>
              </a:ext>
            </a:extLst>
          </p:cNvPr>
          <p:cNvSpPr>
            <a:spLocks noChangeAspect="1"/>
          </p:cNvSpPr>
          <p:nvPr/>
        </p:nvSpPr>
        <p:spPr>
          <a:xfrm>
            <a:off x="2620156" y="3013597"/>
            <a:ext cx="162000" cy="162000"/>
          </a:xfrm>
          <a:prstGeom prst="ellipse">
            <a:avLst/>
          </a:prstGeom>
          <a:solidFill>
            <a:srgbClr val="58C0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zh-CN" altLang="en-US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4E6F3495-3F12-2F17-9AFE-559582AB6FE3}"/>
              </a:ext>
            </a:extLst>
          </p:cNvPr>
          <p:cNvSpPr>
            <a:spLocks noChangeAspect="1"/>
          </p:cNvSpPr>
          <p:nvPr/>
        </p:nvSpPr>
        <p:spPr>
          <a:xfrm>
            <a:off x="2617314" y="3521948"/>
            <a:ext cx="162000" cy="162000"/>
          </a:xfrm>
          <a:prstGeom prst="ellipse">
            <a:avLst/>
          </a:prstGeom>
          <a:solidFill>
            <a:srgbClr val="58C0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zh-CN" altLang="en-US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椭圆 35">
            <a:extLst>
              <a:ext uri="{FF2B5EF4-FFF2-40B4-BE49-F238E27FC236}">
                <a16:creationId xmlns:a16="http://schemas.microsoft.com/office/drawing/2014/main" id="{016EC0D9-3E7B-7677-CFFE-EC0D09A15389}"/>
              </a:ext>
            </a:extLst>
          </p:cNvPr>
          <p:cNvSpPr>
            <a:spLocks noChangeAspect="1"/>
          </p:cNvSpPr>
          <p:nvPr/>
        </p:nvSpPr>
        <p:spPr>
          <a:xfrm>
            <a:off x="7177541" y="2029904"/>
            <a:ext cx="162000" cy="162000"/>
          </a:xfrm>
          <a:prstGeom prst="ellipse">
            <a:avLst/>
          </a:prstGeom>
          <a:solidFill>
            <a:srgbClr val="58C0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zh-CN" altLang="en-US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加号 36">
            <a:extLst>
              <a:ext uri="{FF2B5EF4-FFF2-40B4-BE49-F238E27FC236}">
                <a16:creationId xmlns:a16="http://schemas.microsoft.com/office/drawing/2014/main" id="{A7EFED6D-4ED8-E81B-D12B-3ACC225E9EA2}"/>
              </a:ext>
            </a:extLst>
          </p:cNvPr>
          <p:cNvSpPr/>
          <p:nvPr/>
        </p:nvSpPr>
        <p:spPr>
          <a:xfrm>
            <a:off x="7404321" y="2021233"/>
            <a:ext cx="162000" cy="179343"/>
          </a:xfrm>
          <a:prstGeom prst="mathPlus">
            <a:avLst/>
          </a:prstGeom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椭圆 37">
            <a:extLst>
              <a:ext uri="{FF2B5EF4-FFF2-40B4-BE49-F238E27FC236}">
                <a16:creationId xmlns:a16="http://schemas.microsoft.com/office/drawing/2014/main" id="{52217CB4-B3DA-A289-3300-02BDDD102967}"/>
              </a:ext>
            </a:extLst>
          </p:cNvPr>
          <p:cNvSpPr>
            <a:spLocks noChangeAspect="1"/>
          </p:cNvSpPr>
          <p:nvPr/>
        </p:nvSpPr>
        <p:spPr>
          <a:xfrm>
            <a:off x="7631101" y="2029904"/>
            <a:ext cx="162000" cy="162000"/>
          </a:xfrm>
          <a:prstGeom prst="ellipse">
            <a:avLst/>
          </a:prstGeom>
          <a:solidFill>
            <a:srgbClr val="58C0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zh-CN" altLang="en-US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加号 38">
            <a:extLst>
              <a:ext uri="{FF2B5EF4-FFF2-40B4-BE49-F238E27FC236}">
                <a16:creationId xmlns:a16="http://schemas.microsoft.com/office/drawing/2014/main" id="{ACBA52BF-49C8-C35F-D427-C28CB0B084FE}"/>
              </a:ext>
            </a:extLst>
          </p:cNvPr>
          <p:cNvSpPr/>
          <p:nvPr/>
        </p:nvSpPr>
        <p:spPr>
          <a:xfrm>
            <a:off x="7863348" y="2021233"/>
            <a:ext cx="162000" cy="179343"/>
          </a:xfrm>
          <a:prstGeom prst="mathPlus">
            <a:avLst/>
          </a:prstGeom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椭圆 39">
            <a:extLst>
              <a:ext uri="{FF2B5EF4-FFF2-40B4-BE49-F238E27FC236}">
                <a16:creationId xmlns:a16="http://schemas.microsoft.com/office/drawing/2014/main" id="{0D74D986-750F-EC00-E911-743B0CD1F4AE}"/>
              </a:ext>
            </a:extLst>
          </p:cNvPr>
          <p:cNvSpPr>
            <a:spLocks noChangeAspect="1"/>
          </p:cNvSpPr>
          <p:nvPr/>
        </p:nvSpPr>
        <p:spPr>
          <a:xfrm>
            <a:off x="8095595" y="2029904"/>
            <a:ext cx="162000" cy="162000"/>
          </a:xfrm>
          <a:prstGeom prst="ellipse">
            <a:avLst/>
          </a:prstGeom>
          <a:solidFill>
            <a:srgbClr val="58C0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endParaRPr lang="zh-CN" altLang="en-US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934CB8DE-55C3-20D9-24C8-80809941A76A}"/>
              </a:ext>
            </a:extLst>
          </p:cNvPr>
          <p:cNvSpPr txBox="1"/>
          <p:nvPr/>
        </p:nvSpPr>
        <p:spPr>
          <a:xfrm>
            <a:off x="236416" y="536047"/>
            <a:ext cx="433558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100" b="1" i="1" dirty="0">
                <a:solidFill>
                  <a:srgbClr val="0070C0"/>
                </a:solidFill>
              </a:rPr>
              <a:t>T1</a:t>
            </a:r>
            <a:r>
              <a:rPr lang="en-US" altLang="zh-CN" sz="1100" i="1" dirty="0"/>
              <a:t> WS: only purchase beer from AB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100" b="1" i="1" dirty="0">
                <a:solidFill>
                  <a:srgbClr val="0070C0"/>
                </a:solidFill>
              </a:rPr>
              <a:t>T1.5</a:t>
            </a:r>
            <a:r>
              <a:rPr lang="en-US" altLang="zh-CN" sz="1100" i="1" dirty="0"/>
              <a:t> WS: purchase beer from ABI as well as from other T1 WS</a:t>
            </a:r>
            <a:endParaRPr lang="zh-CN" altLang="en-US" sz="1100" i="1" dirty="0"/>
          </a:p>
        </p:txBody>
      </p:sp>
      <p:cxnSp>
        <p:nvCxnSpPr>
          <p:cNvPr id="49" name="连接符: 肘形 48">
            <a:extLst>
              <a:ext uri="{FF2B5EF4-FFF2-40B4-BE49-F238E27FC236}">
                <a16:creationId xmlns:a16="http://schemas.microsoft.com/office/drawing/2014/main" id="{7C713EBE-68A5-57BC-6946-F277E30F2C2A}"/>
              </a:ext>
            </a:extLst>
          </p:cNvPr>
          <p:cNvCxnSpPr>
            <a:cxnSpLocks/>
            <a:stCxn id="12" idx="0"/>
            <a:endCxn id="53" idx="1"/>
          </p:cNvCxnSpPr>
          <p:nvPr/>
        </p:nvCxnSpPr>
        <p:spPr>
          <a:xfrm rot="5400000" flipH="1" flipV="1">
            <a:off x="1369128" y="1295508"/>
            <a:ext cx="417598" cy="1980539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图片 52" descr="形状&#10;&#10;低可信度描述已自动生成">
            <a:extLst>
              <a:ext uri="{FF2B5EF4-FFF2-40B4-BE49-F238E27FC236}">
                <a16:creationId xmlns:a16="http://schemas.microsoft.com/office/drawing/2014/main" id="{A2A82FF0-A367-AD1D-5381-A6917671E9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8197" y="1941801"/>
            <a:ext cx="270353" cy="270353"/>
          </a:xfrm>
          <a:prstGeom prst="rect">
            <a:avLst/>
          </a:prstGeom>
        </p:spPr>
      </p:pic>
      <p:sp>
        <p:nvSpPr>
          <p:cNvPr id="55" name="文本框 54">
            <a:extLst>
              <a:ext uri="{FF2B5EF4-FFF2-40B4-BE49-F238E27FC236}">
                <a16:creationId xmlns:a16="http://schemas.microsoft.com/office/drawing/2014/main" id="{348779AE-101C-8B28-16B4-EE4184A4743E}"/>
              </a:ext>
            </a:extLst>
          </p:cNvPr>
          <p:cNvSpPr txBox="1"/>
          <p:nvPr/>
        </p:nvSpPr>
        <p:spPr>
          <a:xfrm>
            <a:off x="636475" y="1883895"/>
            <a:ext cx="864000" cy="195814"/>
          </a:xfrm>
          <a:prstGeom prst="rect">
            <a:avLst/>
          </a:prstGeom>
          <a:noFill/>
        </p:spPr>
        <p:txBody>
          <a:bodyPr wrap="square" lIns="0" tIns="36000" rIns="0" bIns="36000" rtlCol="0">
            <a:spAutoFit/>
          </a:bodyPr>
          <a:lstStyle/>
          <a:p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Case to T1.5: </a:t>
            </a:r>
            <a:r>
              <a:rPr kumimoji="1" lang="en-US" altLang="zh-CN" sz="8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3%</a:t>
            </a:r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A5C987D5-2150-D1AC-7222-953978417CAD}"/>
              </a:ext>
            </a:extLst>
          </p:cNvPr>
          <p:cNvSpPr/>
          <p:nvPr/>
        </p:nvSpPr>
        <p:spPr>
          <a:xfrm>
            <a:off x="2478079" y="1919334"/>
            <a:ext cx="432000" cy="865777"/>
          </a:xfrm>
          <a:prstGeom prst="roundRect">
            <a:avLst/>
          </a:prstGeom>
          <a:noFill/>
          <a:ln>
            <a:solidFill>
              <a:srgbClr val="FFC0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361885C1-31A5-0AB5-CDFC-C50E35AEB1D9}"/>
              </a:ext>
            </a:extLst>
          </p:cNvPr>
          <p:cNvSpPr txBox="1"/>
          <p:nvPr/>
        </p:nvSpPr>
        <p:spPr>
          <a:xfrm>
            <a:off x="2010172" y="1753781"/>
            <a:ext cx="468000" cy="318924"/>
          </a:xfrm>
          <a:prstGeom prst="rect">
            <a:avLst/>
          </a:prstGeom>
          <a:noFill/>
        </p:spPr>
        <p:txBody>
          <a:bodyPr wrap="square" lIns="0" tIns="36000" rIns="0" bIns="36000" rtlCol="0">
            <a:spAutoFit/>
          </a:bodyPr>
          <a:lstStyle/>
          <a:p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Case from ABI: </a:t>
            </a:r>
            <a:r>
              <a:rPr kumimoji="1" lang="en-US" altLang="zh-CN" sz="8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7%</a:t>
            </a:r>
          </a:p>
        </p:txBody>
      </p:sp>
      <p:pic>
        <p:nvPicPr>
          <p:cNvPr id="59" name="图片 58" descr="形状&#10;&#10;低可信度描述已自动生成">
            <a:extLst>
              <a:ext uri="{FF2B5EF4-FFF2-40B4-BE49-F238E27FC236}">
                <a16:creationId xmlns:a16="http://schemas.microsoft.com/office/drawing/2014/main" id="{90AB9851-BB01-7C30-52C2-38F035C097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4976" y="1941801"/>
            <a:ext cx="270353" cy="270353"/>
          </a:xfrm>
          <a:prstGeom prst="rect">
            <a:avLst/>
          </a:prstGeom>
        </p:spPr>
      </p:pic>
      <p:sp>
        <p:nvSpPr>
          <p:cNvPr id="60" name="文本框 59">
            <a:extLst>
              <a:ext uri="{FF2B5EF4-FFF2-40B4-BE49-F238E27FC236}">
                <a16:creationId xmlns:a16="http://schemas.microsoft.com/office/drawing/2014/main" id="{AA11E77D-79E2-70FD-7B60-5381CC791BD7}"/>
              </a:ext>
            </a:extLst>
          </p:cNvPr>
          <p:cNvSpPr txBox="1"/>
          <p:nvPr/>
        </p:nvSpPr>
        <p:spPr>
          <a:xfrm>
            <a:off x="3568908" y="2189282"/>
            <a:ext cx="382488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altLang="zh-CN" sz="800" b="1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2.5 WS</a:t>
            </a:r>
            <a:endParaRPr lang="zh-CN" altLang="en-US" sz="800" b="1" dirty="0">
              <a:solidFill>
                <a:srgbClr val="FFC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2" name="连接符: 肘形 61">
            <a:extLst>
              <a:ext uri="{FF2B5EF4-FFF2-40B4-BE49-F238E27FC236}">
                <a16:creationId xmlns:a16="http://schemas.microsoft.com/office/drawing/2014/main" id="{488E78C6-D963-E383-3321-89A0720089A1}"/>
              </a:ext>
            </a:extLst>
          </p:cNvPr>
          <p:cNvCxnSpPr>
            <a:cxnSpLocks/>
            <a:stCxn id="59" idx="3"/>
            <a:endCxn id="14" idx="0"/>
          </p:cNvCxnSpPr>
          <p:nvPr/>
        </p:nvCxnSpPr>
        <p:spPr>
          <a:xfrm>
            <a:off x="3895329" y="2076978"/>
            <a:ext cx="328935" cy="417598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箭头连接符 64">
            <a:extLst>
              <a:ext uri="{FF2B5EF4-FFF2-40B4-BE49-F238E27FC236}">
                <a16:creationId xmlns:a16="http://schemas.microsoft.com/office/drawing/2014/main" id="{210E256D-88A7-D812-8888-2712026E4284}"/>
              </a:ext>
            </a:extLst>
          </p:cNvPr>
          <p:cNvCxnSpPr>
            <a:cxnSpLocks/>
            <a:stCxn id="53" idx="3"/>
            <a:endCxn id="59" idx="1"/>
          </p:cNvCxnSpPr>
          <p:nvPr/>
        </p:nvCxnSpPr>
        <p:spPr>
          <a:xfrm>
            <a:off x="2838550" y="2076978"/>
            <a:ext cx="786426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箭头连接符 72">
            <a:extLst>
              <a:ext uri="{FF2B5EF4-FFF2-40B4-BE49-F238E27FC236}">
                <a16:creationId xmlns:a16="http://schemas.microsoft.com/office/drawing/2014/main" id="{2FDB0174-4C74-9699-7ED1-70EEEC8970C5}"/>
              </a:ext>
            </a:extLst>
          </p:cNvPr>
          <p:cNvCxnSpPr>
            <a:cxnSpLocks/>
            <a:stCxn id="53" idx="3"/>
            <a:endCxn id="14" idx="1"/>
          </p:cNvCxnSpPr>
          <p:nvPr/>
        </p:nvCxnSpPr>
        <p:spPr>
          <a:xfrm>
            <a:off x="2838550" y="2076978"/>
            <a:ext cx="1250537" cy="53993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文本框 78">
            <a:extLst>
              <a:ext uri="{FF2B5EF4-FFF2-40B4-BE49-F238E27FC236}">
                <a16:creationId xmlns:a16="http://schemas.microsoft.com/office/drawing/2014/main" id="{A09E489A-1ABA-D58D-7A3C-CB0225ED0C06}"/>
              </a:ext>
            </a:extLst>
          </p:cNvPr>
          <p:cNvSpPr txBox="1"/>
          <p:nvPr/>
        </p:nvSpPr>
        <p:spPr>
          <a:xfrm>
            <a:off x="2010172" y="2225518"/>
            <a:ext cx="468000" cy="318924"/>
          </a:xfrm>
          <a:prstGeom prst="rect">
            <a:avLst/>
          </a:prstGeom>
          <a:noFill/>
        </p:spPr>
        <p:txBody>
          <a:bodyPr wrap="square" lIns="0" tIns="36000" rIns="0" bIns="36000" rtlCol="0">
            <a:spAutoFit/>
          </a:bodyPr>
          <a:lstStyle/>
          <a:p>
            <a:r>
              <a:rPr kumimoji="1" lang="en-US" altLang="zh-CN" sz="800" dirty="0">
                <a:latin typeface="Calibri" panose="020F0502020204030204" pitchFamily="34" charset="0"/>
                <a:cs typeface="Calibri" panose="020F0502020204030204" pitchFamily="34" charset="0"/>
              </a:rPr>
              <a:t>Case from T1: </a:t>
            </a:r>
            <a:r>
              <a:rPr kumimoji="1" lang="en-US" altLang="zh-CN" sz="8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3%</a:t>
            </a:r>
          </a:p>
        </p:txBody>
      </p:sp>
      <p:sp>
        <p:nvSpPr>
          <p:cNvPr id="80" name="椭圆 79">
            <a:extLst>
              <a:ext uri="{FF2B5EF4-FFF2-40B4-BE49-F238E27FC236}">
                <a16:creationId xmlns:a16="http://schemas.microsoft.com/office/drawing/2014/main" id="{DBDD7370-3C64-DF06-EDED-DC15CC1DEE5E}"/>
              </a:ext>
            </a:extLst>
          </p:cNvPr>
          <p:cNvSpPr>
            <a:spLocks noChangeAspect="1"/>
          </p:cNvSpPr>
          <p:nvPr/>
        </p:nvSpPr>
        <p:spPr>
          <a:xfrm>
            <a:off x="3301098" y="1974931"/>
            <a:ext cx="162000" cy="162000"/>
          </a:xfrm>
          <a:prstGeom prst="ellipse">
            <a:avLst/>
          </a:prstGeom>
          <a:solidFill>
            <a:srgbClr val="58C0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endParaRPr lang="zh-CN" altLang="en-US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椭圆 80">
            <a:extLst>
              <a:ext uri="{FF2B5EF4-FFF2-40B4-BE49-F238E27FC236}">
                <a16:creationId xmlns:a16="http://schemas.microsoft.com/office/drawing/2014/main" id="{CCCD683B-7601-767A-379D-EB832C1369AB}"/>
              </a:ext>
            </a:extLst>
          </p:cNvPr>
          <p:cNvSpPr>
            <a:spLocks noChangeAspect="1"/>
          </p:cNvSpPr>
          <p:nvPr/>
        </p:nvSpPr>
        <p:spPr>
          <a:xfrm>
            <a:off x="3311525" y="2212420"/>
            <a:ext cx="162000" cy="162000"/>
          </a:xfrm>
          <a:prstGeom prst="ellipse">
            <a:avLst/>
          </a:prstGeom>
          <a:solidFill>
            <a:srgbClr val="58C0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endParaRPr lang="zh-CN" altLang="en-US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椭圆 81">
            <a:extLst>
              <a:ext uri="{FF2B5EF4-FFF2-40B4-BE49-F238E27FC236}">
                <a16:creationId xmlns:a16="http://schemas.microsoft.com/office/drawing/2014/main" id="{8054EE86-BF14-CB3C-5E34-A04919FE7AB3}"/>
              </a:ext>
            </a:extLst>
          </p:cNvPr>
          <p:cNvSpPr>
            <a:spLocks noChangeAspect="1"/>
          </p:cNvSpPr>
          <p:nvPr/>
        </p:nvSpPr>
        <p:spPr>
          <a:xfrm>
            <a:off x="1070389" y="2539822"/>
            <a:ext cx="162000" cy="162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zh-CN" altLang="en-US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3" name="椭圆 82">
            <a:extLst>
              <a:ext uri="{FF2B5EF4-FFF2-40B4-BE49-F238E27FC236}">
                <a16:creationId xmlns:a16="http://schemas.microsoft.com/office/drawing/2014/main" id="{DB0C1571-FB3A-CE52-4E94-9C7B563BF952}"/>
              </a:ext>
            </a:extLst>
          </p:cNvPr>
          <p:cNvSpPr>
            <a:spLocks noChangeAspect="1"/>
          </p:cNvSpPr>
          <p:nvPr/>
        </p:nvSpPr>
        <p:spPr>
          <a:xfrm>
            <a:off x="1583942" y="1998709"/>
            <a:ext cx="162000" cy="162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zh-CN" altLang="en-US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A5B6A930-BEB9-1CAB-C597-955F9C895776}"/>
              </a:ext>
            </a:extLst>
          </p:cNvPr>
          <p:cNvSpPr txBox="1"/>
          <p:nvPr/>
        </p:nvSpPr>
        <p:spPr>
          <a:xfrm>
            <a:off x="5257273" y="1776974"/>
            <a:ext cx="19147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i="1" dirty="0">
                <a:latin typeface="Calibri" panose="020F0502020204030204" pitchFamily="34" charset="0"/>
                <a:cs typeface="Calibri" panose="020F0502020204030204" pitchFamily="34" charset="0"/>
              </a:rPr>
              <a:t>For a T1 WS, STW =</a:t>
            </a:r>
          </a:p>
        </p:txBody>
      </p:sp>
      <p:sp>
        <p:nvSpPr>
          <p:cNvPr id="86" name="椭圆 85">
            <a:extLst>
              <a:ext uri="{FF2B5EF4-FFF2-40B4-BE49-F238E27FC236}">
                <a16:creationId xmlns:a16="http://schemas.microsoft.com/office/drawing/2014/main" id="{96BFD598-2F0E-2ED7-8584-572F4590D494}"/>
              </a:ext>
            </a:extLst>
          </p:cNvPr>
          <p:cNvSpPr>
            <a:spLocks noChangeAspect="1"/>
          </p:cNvSpPr>
          <p:nvPr/>
        </p:nvSpPr>
        <p:spPr>
          <a:xfrm>
            <a:off x="6582125" y="1819691"/>
            <a:ext cx="162000" cy="162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zh-CN" altLang="en-US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A538DC32-B1FF-5A55-EDEC-672E93413BD4}"/>
              </a:ext>
            </a:extLst>
          </p:cNvPr>
          <p:cNvSpPr txBox="1"/>
          <p:nvPr/>
        </p:nvSpPr>
        <p:spPr>
          <a:xfrm>
            <a:off x="5257190" y="3095399"/>
            <a:ext cx="20517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i="1" dirty="0">
                <a:latin typeface="Calibri" panose="020F0502020204030204" pitchFamily="34" charset="0"/>
                <a:cs typeface="Calibri" panose="020F0502020204030204" pitchFamily="34" charset="0"/>
              </a:rPr>
              <a:t>For a T1.5 WS, STR Calculated =</a:t>
            </a:r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EA4D7065-DD45-D2D8-8688-D45B6E73E601}"/>
              </a:ext>
            </a:extLst>
          </p:cNvPr>
          <p:cNvSpPr txBox="1"/>
          <p:nvPr/>
        </p:nvSpPr>
        <p:spPr>
          <a:xfrm>
            <a:off x="5257191" y="3310509"/>
            <a:ext cx="355484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ea"/>
              <a:buAutoNum type="circleNumDbPlain" startAt="4"/>
            </a:pPr>
            <a:r>
              <a: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rPr>
              <a:t>T1.5 send to POCs </a:t>
            </a:r>
          </a:p>
          <a:p>
            <a:pPr marL="228600" indent="-228600">
              <a:buFont typeface="+mj-ea"/>
              <a:buAutoNum type="circleNumDbPlain" startAt="4"/>
            </a:pPr>
            <a:r>
              <a: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rPr>
              <a:t>T1.5 send to T2.5</a:t>
            </a:r>
          </a:p>
        </p:txBody>
      </p:sp>
      <p:sp>
        <p:nvSpPr>
          <p:cNvPr id="92" name="椭圆 91">
            <a:extLst>
              <a:ext uri="{FF2B5EF4-FFF2-40B4-BE49-F238E27FC236}">
                <a16:creationId xmlns:a16="http://schemas.microsoft.com/office/drawing/2014/main" id="{8519F412-1B4E-8F80-1984-55D20BCDC2D3}"/>
              </a:ext>
            </a:extLst>
          </p:cNvPr>
          <p:cNvSpPr>
            <a:spLocks noChangeAspect="1"/>
          </p:cNvSpPr>
          <p:nvPr/>
        </p:nvSpPr>
        <p:spPr>
          <a:xfrm>
            <a:off x="7276683" y="3145204"/>
            <a:ext cx="162000" cy="162000"/>
          </a:xfrm>
          <a:prstGeom prst="ellipse">
            <a:avLst/>
          </a:prstGeom>
          <a:solidFill>
            <a:srgbClr val="58C0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endParaRPr lang="zh-CN" altLang="en-US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4" name="加号 93">
            <a:extLst>
              <a:ext uri="{FF2B5EF4-FFF2-40B4-BE49-F238E27FC236}">
                <a16:creationId xmlns:a16="http://schemas.microsoft.com/office/drawing/2014/main" id="{D808AE6C-763D-C147-FBBC-3D7FC7CB2D6D}"/>
              </a:ext>
            </a:extLst>
          </p:cNvPr>
          <p:cNvSpPr/>
          <p:nvPr/>
        </p:nvSpPr>
        <p:spPr>
          <a:xfrm>
            <a:off x="7508930" y="3136533"/>
            <a:ext cx="162000" cy="179343"/>
          </a:xfrm>
          <a:prstGeom prst="mathPlus">
            <a:avLst/>
          </a:prstGeom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5" name="椭圆 94">
            <a:extLst>
              <a:ext uri="{FF2B5EF4-FFF2-40B4-BE49-F238E27FC236}">
                <a16:creationId xmlns:a16="http://schemas.microsoft.com/office/drawing/2014/main" id="{9A15ACA7-5926-15CA-0241-44E327AD4F53}"/>
              </a:ext>
            </a:extLst>
          </p:cNvPr>
          <p:cNvSpPr>
            <a:spLocks noChangeAspect="1"/>
          </p:cNvSpPr>
          <p:nvPr/>
        </p:nvSpPr>
        <p:spPr>
          <a:xfrm>
            <a:off x="7741177" y="3145204"/>
            <a:ext cx="162000" cy="162000"/>
          </a:xfrm>
          <a:prstGeom prst="ellipse">
            <a:avLst/>
          </a:prstGeom>
          <a:solidFill>
            <a:srgbClr val="58C0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endParaRPr lang="zh-CN" altLang="en-US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0" name="文本框 99">
            <a:extLst>
              <a:ext uri="{FF2B5EF4-FFF2-40B4-BE49-F238E27FC236}">
                <a16:creationId xmlns:a16="http://schemas.microsoft.com/office/drawing/2014/main" id="{243AE5AE-D723-3DD9-8854-88D9A1DDDD51}"/>
              </a:ext>
            </a:extLst>
          </p:cNvPr>
          <p:cNvSpPr txBox="1"/>
          <p:nvPr/>
        </p:nvSpPr>
        <p:spPr>
          <a:xfrm>
            <a:off x="5257272" y="2892274"/>
            <a:ext cx="19147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i="1" dirty="0">
                <a:latin typeface="Calibri" panose="020F0502020204030204" pitchFamily="34" charset="0"/>
                <a:cs typeface="Calibri" panose="020F0502020204030204" pitchFamily="34" charset="0"/>
              </a:rPr>
              <a:t>For a T1.5 WS, STW =</a:t>
            </a:r>
          </a:p>
        </p:txBody>
      </p:sp>
      <p:sp>
        <p:nvSpPr>
          <p:cNvPr id="101" name="椭圆 100">
            <a:extLst>
              <a:ext uri="{FF2B5EF4-FFF2-40B4-BE49-F238E27FC236}">
                <a16:creationId xmlns:a16="http://schemas.microsoft.com/office/drawing/2014/main" id="{B38AC20D-F90C-9390-95C3-0220E5A713E7}"/>
              </a:ext>
            </a:extLst>
          </p:cNvPr>
          <p:cNvSpPr>
            <a:spLocks noChangeAspect="1"/>
          </p:cNvSpPr>
          <p:nvPr/>
        </p:nvSpPr>
        <p:spPr>
          <a:xfrm>
            <a:off x="6638828" y="2927903"/>
            <a:ext cx="162000" cy="162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zh-CN" altLang="en-US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2" name="文本框 101">
            <a:extLst>
              <a:ext uri="{FF2B5EF4-FFF2-40B4-BE49-F238E27FC236}">
                <a16:creationId xmlns:a16="http://schemas.microsoft.com/office/drawing/2014/main" id="{2A2299CD-92F6-4D63-0B03-580F3B873707}"/>
              </a:ext>
            </a:extLst>
          </p:cNvPr>
          <p:cNvSpPr txBox="1"/>
          <p:nvPr/>
        </p:nvSpPr>
        <p:spPr>
          <a:xfrm>
            <a:off x="8176595" y="2923773"/>
            <a:ext cx="8990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800" b="1" i="1" dirty="0">
                <a:latin typeface="Calibri" panose="020F0502020204030204" pitchFamily="34" charset="0"/>
                <a:cs typeface="Calibri" panose="020F0502020204030204" pitchFamily="34" charset="0"/>
              </a:rPr>
              <a:t>Note</a:t>
            </a:r>
            <a:r>
              <a:rPr kumimoji="1" lang="en-US" altLang="zh-CN" sz="800" i="1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r>
              <a:rPr kumimoji="1" lang="en-US" altLang="zh-CN" sz="800" i="1" dirty="0">
                <a:latin typeface="Calibri" panose="020F0502020204030204" pitchFamily="34" charset="0"/>
                <a:cs typeface="Calibri" panose="020F0502020204030204" pitchFamily="34" charset="0"/>
              </a:rPr>
              <a:t>For T1.5, only consider the volume </a:t>
            </a:r>
            <a:r>
              <a:rPr kumimoji="1" lang="en-US" altLang="zh-CN" sz="800" i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rectly coming from ABI </a:t>
            </a:r>
          </a:p>
        </p:txBody>
      </p:sp>
    </p:spTree>
    <p:extLst>
      <p:ext uri="{BB962C8B-B14F-4D97-AF65-F5344CB8AC3E}">
        <p14:creationId xmlns:p14="http://schemas.microsoft.com/office/powerpoint/2010/main" val="22829145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C02DC60C-1F12-6D74-9423-B82FCB5F1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ank you !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FD34B17-0D98-BFEB-7CA8-DF489CCD13B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842375" y="4730750"/>
            <a:ext cx="301625" cy="274638"/>
          </a:xfrm>
          <a:prstGeom prst="rect">
            <a:avLst/>
          </a:prstGeom>
        </p:spPr>
        <p:txBody>
          <a:bodyPr/>
          <a:lstStyle/>
          <a:p>
            <a:fld id="{449EE1FA-814C-4BDC-9591-31839B5CF71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2307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59B10ED2-635C-91A5-65B0-7804816EF0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49EE1FA-814C-4BDC-9591-31839B5CF716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6" name="TextBox 5">
            <a:extLst>
              <a:ext uri="{FF2B5EF4-FFF2-40B4-BE49-F238E27FC236}">
                <a16:creationId xmlns:a16="http://schemas.microsoft.com/office/drawing/2014/main" id="{D1F32E39-8F67-4200-C097-A3D35E66BDB1}"/>
              </a:ext>
            </a:extLst>
          </p:cNvPr>
          <p:cNvSpPr txBox="1"/>
          <p:nvPr/>
        </p:nvSpPr>
        <p:spPr>
          <a:xfrm>
            <a:off x="256257" y="527745"/>
            <a:ext cx="79844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rgbClr val="C00000"/>
                </a:solidFill>
              </a:rPr>
              <a:t>If this wholesaler is a T1.5 wholesaler, the STR we need is…</a:t>
            </a:r>
            <a:endParaRPr lang="zh-CN" altLang="en-US" sz="1600" b="1" dirty="0">
              <a:solidFill>
                <a:srgbClr val="C00000"/>
              </a:solidFill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AB971165-351A-9862-4907-411A702A609B}"/>
              </a:ext>
            </a:extLst>
          </p:cNvPr>
          <p:cNvSpPr txBox="1"/>
          <p:nvPr/>
        </p:nvSpPr>
        <p:spPr>
          <a:xfrm>
            <a:off x="6455104" y="2037040"/>
            <a:ext cx="2225347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100" b="1" dirty="0">
                <a:latin typeface="Calibri" panose="020F0502020204030204" pitchFamily="34" charset="0"/>
                <a:cs typeface="Calibri" panose="020F0502020204030204" pitchFamily="34" charset="0"/>
              </a:rPr>
              <a:t>For a T1.5 wholesaler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zh-CN" sz="11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rPr>
              <a:t>Beer getting from T1 could only send to POC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zh-CN" sz="11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rPr>
              <a:t>Beer from ABI could send to a T2.5 wholesaler or POCs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DB9FBEE4-382F-DB3E-42BB-C9658EC2C938}"/>
              </a:ext>
            </a:extLst>
          </p:cNvPr>
          <p:cNvSpPr txBox="1"/>
          <p:nvPr/>
        </p:nvSpPr>
        <p:spPr>
          <a:xfrm>
            <a:off x="258684" y="1101774"/>
            <a:ext cx="81421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i="1" dirty="0"/>
              <a:t>STR Calculated only includes the volume directly coming from ABI </a:t>
            </a:r>
          </a:p>
          <a:p>
            <a:r>
              <a:rPr lang="en-US" altLang="zh-CN" sz="1100" i="1" dirty="0"/>
              <a:t>	= STR send to wholesalers + STR (coming from ABI) send to POCs</a:t>
            </a:r>
            <a:endParaRPr lang="zh-CN" altLang="en-US" sz="1100" i="1" dirty="0"/>
          </a:p>
        </p:txBody>
      </p: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5099B6DC-C974-6241-C4F1-F3966042BFEC}"/>
              </a:ext>
            </a:extLst>
          </p:cNvPr>
          <p:cNvGrpSpPr/>
          <p:nvPr/>
        </p:nvGrpSpPr>
        <p:grpSpPr>
          <a:xfrm>
            <a:off x="493087" y="1938659"/>
            <a:ext cx="5573899" cy="1741037"/>
            <a:chOff x="493087" y="1938659"/>
            <a:chExt cx="5573899" cy="1741037"/>
          </a:xfrm>
        </p:grpSpPr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49050A8A-A16F-6A26-9526-440AE5B0844A}"/>
                </a:ext>
              </a:extLst>
            </p:cNvPr>
            <p:cNvGrpSpPr/>
            <p:nvPr/>
          </p:nvGrpSpPr>
          <p:grpSpPr>
            <a:xfrm>
              <a:off x="493087" y="1978575"/>
              <a:ext cx="5573899" cy="1701121"/>
              <a:chOff x="1508639" y="1257727"/>
              <a:chExt cx="5573899" cy="1701121"/>
            </a:xfrm>
          </p:grpSpPr>
          <p:pic>
            <p:nvPicPr>
              <p:cNvPr id="5" name="图片 4" descr="形状&#10;&#10;低可信度描述已自动生成">
                <a:extLst>
                  <a:ext uri="{FF2B5EF4-FFF2-40B4-BE49-F238E27FC236}">
                    <a16:creationId xmlns:a16="http://schemas.microsoft.com/office/drawing/2014/main" id="{F4651949-6922-1C6E-1BFE-8D0AF99021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190776" y="1967189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6" name="图片 5">
                <a:extLst>
                  <a:ext uri="{FF2B5EF4-FFF2-40B4-BE49-F238E27FC236}">
                    <a16:creationId xmlns:a16="http://schemas.microsoft.com/office/drawing/2014/main" id="{63BD6C8B-F02B-C64A-A2CE-C8DDCF9D62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508639" y="1985189"/>
                <a:ext cx="951320" cy="324000"/>
              </a:xfrm>
              <a:prstGeom prst="rect">
                <a:avLst/>
              </a:prstGeom>
            </p:spPr>
          </p:pic>
          <p:pic>
            <p:nvPicPr>
              <p:cNvPr id="7" name="图片 6" descr="形状&#10;&#10;低可信度描述已自动生成">
                <a:extLst>
                  <a:ext uri="{FF2B5EF4-FFF2-40B4-BE49-F238E27FC236}">
                    <a16:creationId xmlns:a16="http://schemas.microsoft.com/office/drawing/2014/main" id="{40DD8503-5708-58A7-FBFE-C53BF61500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97577" y="1318426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8" name="图片 7" descr="图片包含 徽标&#10;&#10;描述已自动生成">
                <a:extLst>
                  <a:ext uri="{FF2B5EF4-FFF2-40B4-BE49-F238E27FC236}">
                    <a16:creationId xmlns:a16="http://schemas.microsoft.com/office/drawing/2014/main" id="{2E925838-8051-B6D9-81A5-6D36C907C8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82374" y="1335530"/>
                <a:ext cx="360000" cy="325792"/>
              </a:xfrm>
              <a:prstGeom prst="rect">
                <a:avLst/>
              </a:prstGeom>
            </p:spPr>
          </p:pic>
          <p:pic>
            <p:nvPicPr>
              <p:cNvPr id="9" name="图片 8" descr="图片包含 徽标&#10;&#10;描述已自动生成">
                <a:extLst>
                  <a:ext uri="{FF2B5EF4-FFF2-40B4-BE49-F238E27FC236}">
                    <a16:creationId xmlns:a16="http://schemas.microsoft.com/office/drawing/2014/main" id="{994AAB86-9811-B01E-2219-F65B314B79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82374" y="1984293"/>
                <a:ext cx="360000" cy="325792"/>
              </a:xfrm>
              <a:prstGeom prst="rect">
                <a:avLst/>
              </a:prstGeom>
            </p:spPr>
          </p:pic>
          <p:cxnSp>
            <p:nvCxnSpPr>
              <p:cNvPr id="10" name="直接箭头连接符 9">
                <a:extLst>
                  <a:ext uri="{FF2B5EF4-FFF2-40B4-BE49-F238E27FC236}">
                    <a16:creationId xmlns:a16="http://schemas.microsoft.com/office/drawing/2014/main" id="{9F492A4D-EC26-9FB7-1B7D-B4E4B054952C}"/>
                  </a:ext>
                </a:extLst>
              </p:cNvPr>
              <p:cNvCxnSpPr>
                <a:cxnSpLocks/>
                <a:stCxn id="6" idx="3"/>
                <a:endCxn id="14" idx="1"/>
              </p:cNvCxnSpPr>
              <p:nvPr/>
            </p:nvCxnSpPr>
            <p:spPr>
              <a:xfrm>
                <a:off x="2459959" y="2147189"/>
                <a:ext cx="1537618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直接箭头连接符 10">
                <a:extLst>
                  <a:ext uri="{FF2B5EF4-FFF2-40B4-BE49-F238E27FC236}">
                    <a16:creationId xmlns:a16="http://schemas.microsoft.com/office/drawing/2014/main" id="{AAD31B00-9ED3-9997-8E61-426EAF7F046C}"/>
                  </a:ext>
                </a:extLst>
              </p:cNvPr>
              <p:cNvCxnSpPr>
                <a:cxnSpLocks/>
                <a:stCxn id="14" idx="3"/>
                <a:endCxn id="5" idx="1"/>
              </p:cNvCxnSpPr>
              <p:nvPr/>
            </p:nvCxnSpPr>
            <p:spPr>
              <a:xfrm>
                <a:off x="4357577" y="2147189"/>
                <a:ext cx="833199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接箭头连接符 11">
                <a:extLst>
                  <a:ext uri="{FF2B5EF4-FFF2-40B4-BE49-F238E27FC236}">
                    <a16:creationId xmlns:a16="http://schemas.microsoft.com/office/drawing/2014/main" id="{DF83C15D-9945-00C7-6DEB-ADEF3C6F63BA}"/>
                  </a:ext>
                </a:extLst>
              </p:cNvPr>
              <p:cNvCxnSpPr>
                <a:cxnSpLocks/>
                <a:stCxn id="7" idx="3"/>
                <a:endCxn id="8" idx="1"/>
              </p:cNvCxnSpPr>
              <p:nvPr/>
            </p:nvCxnSpPr>
            <p:spPr>
              <a:xfrm>
                <a:off x="4357577" y="1498426"/>
                <a:ext cx="1924797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箭头连接符 12">
                <a:extLst>
                  <a:ext uri="{FF2B5EF4-FFF2-40B4-BE49-F238E27FC236}">
                    <a16:creationId xmlns:a16="http://schemas.microsoft.com/office/drawing/2014/main" id="{65E6F0DB-814A-3DA9-80A1-1C44F522D3FA}"/>
                  </a:ext>
                </a:extLst>
              </p:cNvPr>
              <p:cNvCxnSpPr>
                <a:cxnSpLocks/>
                <a:stCxn id="5" idx="3"/>
                <a:endCxn id="9" idx="1"/>
              </p:cNvCxnSpPr>
              <p:nvPr/>
            </p:nvCxnSpPr>
            <p:spPr>
              <a:xfrm>
                <a:off x="5550776" y="2147189"/>
                <a:ext cx="731598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4" name="图片 13" descr="形状&#10;&#10;低可信度描述已自动生成">
                <a:extLst>
                  <a:ext uri="{FF2B5EF4-FFF2-40B4-BE49-F238E27FC236}">
                    <a16:creationId xmlns:a16="http://schemas.microsoft.com/office/drawing/2014/main" id="{318386E9-EC5F-CA74-21DC-F000C07C29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97577" y="1967189"/>
                <a:ext cx="360000" cy="360000"/>
              </a:xfrm>
              <a:prstGeom prst="rect">
                <a:avLst/>
              </a:prstGeom>
            </p:spPr>
          </p:pic>
          <p:cxnSp>
            <p:nvCxnSpPr>
              <p:cNvPr id="15" name="连接符: 肘形 14">
                <a:extLst>
                  <a:ext uri="{FF2B5EF4-FFF2-40B4-BE49-F238E27FC236}">
                    <a16:creationId xmlns:a16="http://schemas.microsoft.com/office/drawing/2014/main" id="{76389579-53DE-A580-DECA-D7AEF397AEE1}"/>
                  </a:ext>
                </a:extLst>
              </p:cNvPr>
              <p:cNvCxnSpPr>
                <a:cxnSpLocks/>
                <a:stCxn id="6" idx="0"/>
                <a:endCxn id="17" idx="1"/>
              </p:cNvCxnSpPr>
              <p:nvPr/>
            </p:nvCxnSpPr>
            <p:spPr>
              <a:xfrm rot="5400000" flipH="1" flipV="1">
                <a:off x="2202266" y="1280460"/>
                <a:ext cx="486762" cy="922697"/>
              </a:xfrm>
              <a:prstGeom prst="bentConnector2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箭头连接符 15">
                <a:extLst>
                  <a:ext uri="{FF2B5EF4-FFF2-40B4-BE49-F238E27FC236}">
                    <a16:creationId xmlns:a16="http://schemas.microsoft.com/office/drawing/2014/main" id="{A6981764-8FF3-0A8E-5D77-EE1699D813E8}"/>
                  </a:ext>
                </a:extLst>
              </p:cNvPr>
              <p:cNvCxnSpPr>
                <a:cxnSpLocks/>
                <a:stCxn id="17" idx="3"/>
                <a:endCxn id="7" idx="1"/>
              </p:cNvCxnSpPr>
              <p:nvPr/>
            </p:nvCxnSpPr>
            <p:spPr>
              <a:xfrm flipV="1">
                <a:off x="3266996" y="1498426"/>
                <a:ext cx="730581" cy="1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7" name="图片 16" descr="图标&#10;&#10;描述已自动生成">
                <a:extLst>
                  <a:ext uri="{FF2B5EF4-FFF2-40B4-BE49-F238E27FC236}">
                    <a16:creationId xmlns:a16="http://schemas.microsoft.com/office/drawing/2014/main" id="{12284B21-4BA7-4EA3-4F21-BECE8C5E2C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06996" y="1341221"/>
                <a:ext cx="360000" cy="314411"/>
              </a:xfrm>
              <a:prstGeom prst="rect">
                <a:avLst/>
              </a:prstGeom>
            </p:spPr>
          </p:pic>
          <p:sp>
            <p:nvSpPr>
              <p:cNvPr id="18" name="矩形: 圆角 17">
                <a:extLst>
                  <a:ext uri="{FF2B5EF4-FFF2-40B4-BE49-F238E27FC236}">
                    <a16:creationId xmlns:a16="http://schemas.microsoft.com/office/drawing/2014/main" id="{41E6307E-BBFE-8EFE-7893-CF2D0E11755C}"/>
                  </a:ext>
                </a:extLst>
              </p:cNvPr>
              <p:cNvSpPr/>
              <p:nvPr/>
            </p:nvSpPr>
            <p:spPr>
              <a:xfrm>
                <a:off x="3902388" y="1257727"/>
                <a:ext cx="509316" cy="1142523"/>
              </a:xfrm>
              <a:prstGeom prst="roundRect">
                <a:avLst/>
              </a:prstGeom>
              <a:noFill/>
              <a:ln>
                <a:solidFill>
                  <a:srgbClr val="FFC000"/>
                </a:solidFill>
                <a:prstDash val="sys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7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BDE5FE4F-1762-87EE-C37C-4B2C08121943}"/>
                  </a:ext>
                </a:extLst>
              </p:cNvPr>
              <p:cNvSpPr txBox="1"/>
              <p:nvPr/>
            </p:nvSpPr>
            <p:spPr>
              <a:xfrm>
                <a:off x="2791627" y="1719459"/>
                <a:ext cx="509317" cy="215436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altLang="zh-CN" sz="8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1</a:t>
                </a:r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WS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823C60EC-6AA8-C83E-26CD-DCF8EEF9A126}"/>
                  </a:ext>
                </a:extLst>
              </p:cNvPr>
              <p:cNvSpPr txBox="1"/>
              <p:nvPr/>
            </p:nvSpPr>
            <p:spPr>
              <a:xfrm>
                <a:off x="3922918" y="1719451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altLang="zh-CN" sz="8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1.5</a:t>
                </a:r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WS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2D225397-9EAD-A3AD-A93B-F9ECE0A448D2}"/>
                  </a:ext>
                </a:extLst>
              </p:cNvPr>
              <p:cNvSpPr txBox="1"/>
              <p:nvPr/>
            </p:nvSpPr>
            <p:spPr>
              <a:xfrm>
                <a:off x="5090669" y="1719451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altLang="zh-CN" sz="8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2.5</a:t>
                </a:r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WS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2F52B1D6-1DE5-67BB-127D-6B18FB7DA0EA}"/>
                  </a:ext>
                </a:extLst>
              </p:cNvPr>
              <p:cNvSpPr txBox="1"/>
              <p:nvPr/>
            </p:nvSpPr>
            <p:spPr>
              <a:xfrm>
                <a:off x="6573221" y="1390704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POC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5DA610D1-12BD-9237-09F2-1E6231FD45E7}"/>
                  </a:ext>
                </a:extLst>
              </p:cNvPr>
              <p:cNvSpPr txBox="1"/>
              <p:nvPr/>
            </p:nvSpPr>
            <p:spPr>
              <a:xfrm>
                <a:off x="6556615" y="2039467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POC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pic>
            <p:nvPicPr>
              <p:cNvPr id="26" name="图片 25" descr="图片包含 徽标&#10;&#10;描述已自动生成">
                <a:extLst>
                  <a:ext uri="{FF2B5EF4-FFF2-40B4-BE49-F238E27FC236}">
                    <a16:creationId xmlns:a16="http://schemas.microsoft.com/office/drawing/2014/main" id="{98B67A4E-F982-229E-6EBC-050CACD6F2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82374" y="2633056"/>
                <a:ext cx="360000" cy="325792"/>
              </a:xfrm>
              <a:prstGeom prst="rect">
                <a:avLst/>
              </a:prstGeom>
            </p:spPr>
          </p:pic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AA3C7E0A-2AA5-1A8E-9511-CA242BF2FAFD}"/>
                  </a:ext>
                </a:extLst>
              </p:cNvPr>
              <p:cNvSpPr txBox="1"/>
              <p:nvPr/>
            </p:nvSpPr>
            <p:spPr>
              <a:xfrm>
                <a:off x="6573221" y="2688230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POC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28" name="直接箭头连接符 27">
                <a:extLst>
                  <a:ext uri="{FF2B5EF4-FFF2-40B4-BE49-F238E27FC236}">
                    <a16:creationId xmlns:a16="http://schemas.microsoft.com/office/drawing/2014/main" id="{6DA3D721-A537-B236-9D5C-EC02FB8BF791}"/>
                  </a:ext>
                </a:extLst>
              </p:cNvPr>
              <p:cNvCxnSpPr>
                <a:cxnSpLocks/>
                <a:stCxn id="14" idx="3"/>
                <a:endCxn id="26" idx="1"/>
              </p:cNvCxnSpPr>
              <p:nvPr/>
            </p:nvCxnSpPr>
            <p:spPr>
              <a:xfrm>
                <a:off x="4357577" y="2147189"/>
                <a:ext cx="1924797" cy="648763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3" name="Picture 2">
                <a:extLst>
                  <a:ext uri="{FF2B5EF4-FFF2-40B4-BE49-F238E27FC236}">
                    <a16:creationId xmlns:a16="http://schemas.microsoft.com/office/drawing/2014/main" id="{0BB9724B-1E6F-2337-E18E-84DCF710C17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09764" y="1277122"/>
                <a:ext cx="216000" cy="21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3">
                <a:extLst>
                  <a:ext uri="{FF2B5EF4-FFF2-40B4-BE49-F238E27FC236}">
                    <a16:creationId xmlns:a16="http://schemas.microsoft.com/office/drawing/2014/main" id="{CC109F44-806C-3084-1189-93409143558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09764" y="1920580"/>
                <a:ext cx="216000" cy="21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5" name="Picture 3">
                <a:extLst>
                  <a:ext uri="{FF2B5EF4-FFF2-40B4-BE49-F238E27FC236}">
                    <a16:creationId xmlns:a16="http://schemas.microsoft.com/office/drawing/2014/main" id="{736E1D60-D97B-FCDB-2EAE-AF10BD88555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09764" y="2342733"/>
                <a:ext cx="216000" cy="21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2" name="Picture 3">
              <a:extLst>
                <a:ext uri="{FF2B5EF4-FFF2-40B4-BE49-F238E27FC236}">
                  <a16:creationId xmlns:a16="http://schemas.microsoft.com/office/drawing/2014/main" id="{9E8053E5-4731-D0F5-78D8-AF8570D96A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7413" y="2643752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E97F0E0C-5BBE-E733-167D-BA3964BB56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7413" y="1985275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矩形: 圆角 29">
              <a:extLst>
                <a:ext uri="{FF2B5EF4-FFF2-40B4-BE49-F238E27FC236}">
                  <a16:creationId xmlns:a16="http://schemas.microsoft.com/office/drawing/2014/main" id="{FD47589E-6ADD-769C-E60A-3B2752007658}"/>
                </a:ext>
              </a:extLst>
            </p:cNvPr>
            <p:cNvSpPr/>
            <p:nvPr/>
          </p:nvSpPr>
          <p:spPr>
            <a:xfrm>
              <a:off x="2259085" y="1938659"/>
              <a:ext cx="509316" cy="1377144"/>
            </a:xfrm>
            <a:prstGeom prst="roundRect">
              <a:avLst/>
            </a:prstGeom>
            <a:noFill/>
            <a:ln>
              <a:solidFill>
                <a:srgbClr val="D00A2E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75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矩形: 圆角 30">
              <a:extLst>
                <a:ext uri="{FF2B5EF4-FFF2-40B4-BE49-F238E27FC236}">
                  <a16:creationId xmlns:a16="http://schemas.microsoft.com/office/drawing/2014/main" id="{9DD63BBD-48AD-22BD-F7B0-B4D38A2449C0}"/>
                </a:ext>
              </a:extLst>
            </p:cNvPr>
            <p:cNvSpPr/>
            <p:nvPr/>
          </p:nvSpPr>
          <p:spPr>
            <a:xfrm>
              <a:off x="3542045" y="1938659"/>
              <a:ext cx="509316" cy="1377145"/>
            </a:xfrm>
            <a:prstGeom prst="roundRect">
              <a:avLst/>
            </a:prstGeom>
            <a:noFill/>
            <a:ln>
              <a:solidFill>
                <a:srgbClr val="D00A2E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75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AC26BA8E-5018-827C-E036-963170EB706F}"/>
                </a:ext>
              </a:extLst>
            </p:cNvPr>
            <p:cNvSpPr txBox="1"/>
            <p:nvPr/>
          </p:nvSpPr>
          <p:spPr>
            <a:xfrm>
              <a:off x="2251444" y="3332631"/>
              <a:ext cx="51695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en-US" altLang="zh-CN" sz="1100" b="1" dirty="0">
                  <a:latin typeface="Calibri" panose="020F0502020204030204" pitchFamily="34" charset="0"/>
                  <a:cs typeface="Calibri" panose="020F0502020204030204" pitchFamily="34" charset="0"/>
                </a:rPr>
                <a:t>STW</a:t>
              </a:r>
              <a:endPara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7AEFBACF-97E3-4440-B161-18D718EBD760}"/>
                </a:ext>
              </a:extLst>
            </p:cNvPr>
            <p:cNvSpPr txBox="1"/>
            <p:nvPr/>
          </p:nvSpPr>
          <p:spPr>
            <a:xfrm>
              <a:off x="3540704" y="3328047"/>
              <a:ext cx="51695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en-US" altLang="zh-CN" sz="1100" b="1" dirty="0">
                  <a:latin typeface="Calibri" panose="020F0502020204030204" pitchFamily="34" charset="0"/>
                  <a:cs typeface="Calibri" panose="020F0502020204030204" pitchFamily="34" charset="0"/>
                </a:rPr>
                <a:t>STR</a:t>
              </a:r>
              <a:endPara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69612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C77404F-EF4F-481C-977F-2303F1238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251" y="2221473"/>
            <a:ext cx="1270000" cy="426271"/>
          </a:xfrm>
        </p:spPr>
        <p:txBody>
          <a:bodyPr/>
          <a:lstStyle/>
          <a:p>
            <a:r>
              <a:rPr lang="zh-CN" altLang="en-US" dirty="0"/>
              <a:t>方式一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0B87370D-5548-5B23-9C78-169B298CE5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49EE1FA-814C-4BDC-9591-31839B5CF716}" type="slidenum">
              <a:rPr lang="en-US" smtClean="0"/>
              <a:pPr/>
              <a:t>6</a:t>
            </a:fld>
            <a:endParaRPr 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3739E5C2-85E3-D40D-515D-30F5F99A0B30}"/>
              </a:ext>
            </a:extLst>
          </p:cNvPr>
          <p:cNvGrpSpPr/>
          <p:nvPr/>
        </p:nvGrpSpPr>
        <p:grpSpPr>
          <a:xfrm>
            <a:off x="2591014" y="695840"/>
            <a:ext cx="5938295" cy="1909752"/>
            <a:chOff x="256257" y="1910035"/>
            <a:chExt cx="5938295" cy="1909752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03823F99-A6F3-6D55-EA23-EB77509E2639}"/>
                </a:ext>
              </a:extLst>
            </p:cNvPr>
            <p:cNvGrpSpPr/>
            <p:nvPr/>
          </p:nvGrpSpPr>
          <p:grpSpPr>
            <a:xfrm>
              <a:off x="256257" y="1910035"/>
              <a:ext cx="5938295" cy="1700805"/>
              <a:chOff x="947818" y="1237723"/>
              <a:chExt cx="5938295" cy="1700805"/>
            </a:xfrm>
          </p:grpSpPr>
          <p:pic>
            <p:nvPicPr>
              <p:cNvPr id="12" name="图片 11" descr="形状&#10;&#10;低可信度描述已自动生成">
                <a:extLst>
                  <a:ext uri="{FF2B5EF4-FFF2-40B4-BE49-F238E27FC236}">
                    <a16:creationId xmlns:a16="http://schemas.microsoft.com/office/drawing/2014/main" id="{453EDA26-99A8-A253-C5A3-56CE30062F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74028" y="1946869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13" name="图片 12">
                <a:extLst>
                  <a:ext uri="{FF2B5EF4-FFF2-40B4-BE49-F238E27FC236}">
                    <a16:creationId xmlns:a16="http://schemas.microsoft.com/office/drawing/2014/main" id="{51ED6B1E-CB3E-83EB-ED42-F800EED4BC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47818" y="1315210"/>
                <a:ext cx="951320" cy="324000"/>
              </a:xfrm>
              <a:prstGeom prst="rect">
                <a:avLst/>
              </a:prstGeom>
            </p:spPr>
          </p:pic>
          <p:pic>
            <p:nvPicPr>
              <p:cNvPr id="14" name="图片 13" descr="形状&#10;&#10;低可信度描述已自动生成">
                <a:extLst>
                  <a:ext uri="{FF2B5EF4-FFF2-40B4-BE49-F238E27FC236}">
                    <a16:creationId xmlns:a16="http://schemas.microsoft.com/office/drawing/2014/main" id="{E1862419-F73C-4700-BADA-D4A5ADAEED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68479" y="1298106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15" name="图片 14" descr="图片包含 徽标&#10;&#10;描述已自动生成">
                <a:extLst>
                  <a:ext uri="{FF2B5EF4-FFF2-40B4-BE49-F238E27FC236}">
                    <a16:creationId xmlns:a16="http://schemas.microsoft.com/office/drawing/2014/main" id="{F13E80C7-A0A4-F2F6-C36C-648726A16A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85949" y="1315210"/>
                <a:ext cx="360000" cy="325792"/>
              </a:xfrm>
              <a:prstGeom prst="rect">
                <a:avLst/>
              </a:prstGeom>
            </p:spPr>
          </p:pic>
          <p:pic>
            <p:nvPicPr>
              <p:cNvPr id="16" name="图片 15" descr="图片包含 徽标&#10;&#10;描述已自动生成">
                <a:extLst>
                  <a:ext uri="{FF2B5EF4-FFF2-40B4-BE49-F238E27FC236}">
                    <a16:creationId xmlns:a16="http://schemas.microsoft.com/office/drawing/2014/main" id="{9E5F116D-6DE1-4A56-3026-3E9B2738FD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85949" y="1963973"/>
                <a:ext cx="360000" cy="325792"/>
              </a:xfrm>
              <a:prstGeom prst="rect">
                <a:avLst/>
              </a:prstGeom>
            </p:spPr>
          </p:pic>
          <p:cxnSp>
            <p:nvCxnSpPr>
              <p:cNvPr id="17" name="直接箭头连接符 16">
                <a:extLst>
                  <a:ext uri="{FF2B5EF4-FFF2-40B4-BE49-F238E27FC236}">
                    <a16:creationId xmlns:a16="http://schemas.microsoft.com/office/drawing/2014/main" id="{A0C1334E-F906-A207-14A2-F352583C5ACB}"/>
                  </a:ext>
                </a:extLst>
              </p:cNvPr>
              <p:cNvCxnSpPr>
                <a:cxnSpLocks/>
                <a:stCxn id="13" idx="3"/>
                <a:endCxn id="21" idx="1"/>
              </p:cNvCxnSpPr>
              <p:nvPr/>
            </p:nvCxnSpPr>
            <p:spPr>
              <a:xfrm>
                <a:off x="1899138" y="1477210"/>
                <a:ext cx="791111" cy="897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箭头连接符 17">
                <a:extLst>
                  <a:ext uri="{FF2B5EF4-FFF2-40B4-BE49-F238E27FC236}">
                    <a16:creationId xmlns:a16="http://schemas.microsoft.com/office/drawing/2014/main" id="{D6C4B5DF-4453-28A5-2CA1-0FD6D9164451}"/>
                  </a:ext>
                </a:extLst>
              </p:cNvPr>
              <p:cNvCxnSpPr>
                <a:cxnSpLocks/>
                <a:stCxn id="14" idx="3"/>
                <a:endCxn id="15" idx="1"/>
              </p:cNvCxnSpPr>
              <p:nvPr/>
            </p:nvCxnSpPr>
            <p:spPr>
              <a:xfrm>
                <a:off x="4428479" y="1478106"/>
                <a:ext cx="1657470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直接箭头连接符 18">
                <a:extLst>
                  <a:ext uri="{FF2B5EF4-FFF2-40B4-BE49-F238E27FC236}">
                    <a16:creationId xmlns:a16="http://schemas.microsoft.com/office/drawing/2014/main" id="{51836480-F2CE-76B4-3D6B-81E18ADDB808}"/>
                  </a:ext>
                </a:extLst>
              </p:cNvPr>
              <p:cNvCxnSpPr>
                <a:cxnSpLocks/>
                <a:stCxn id="12" idx="3"/>
                <a:endCxn id="16" idx="1"/>
              </p:cNvCxnSpPr>
              <p:nvPr/>
            </p:nvCxnSpPr>
            <p:spPr>
              <a:xfrm>
                <a:off x="5334028" y="2126869"/>
                <a:ext cx="751921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接箭头连接符 19">
                <a:extLst>
                  <a:ext uri="{FF2B5EF4-FFF2-40B4-BE49-F238E27FC236}">
                    <a16:creationId xmlns:a16="http://schemas.microsoft.com/office/drawing/2014/main" id="{E2576C2E-C442-4F71-C814-CE773C80A0AE}"/>
                  </a:ext>
                </a:extLst>
              </p:cNvPr>
              <p:cNvCxnSpPr>
                <a:cxnSpLocks/>
                <a:stCxn id="21" idx="3"/>
                <a:endCxn id="14" idx="1"/>
              </p:cNvCxnSpPr>
              <p:nvPr/>
            </p:nvCxnSpPr>
            <p:spPr>
              <a:xfrm flipV="1">
                <a:off x="3050249" y="1478106"/>
                <a:ext cx="1018230" cy="1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1" name="图片 20" descr="图标&#10;&#10;描述已自动生成">
                <a:extLst>
                  <a:ext uri="{FF2B5EF4-FFF2-40B4-BE49-F238E27FC236}">
                    <a16:creationId xmlns:a16="http://schemas.microsoft.com/office/drawing/2014/main" id="{C8BADDF9-41A1-CE64-1C42-1D8359D13B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90249" y="1320901"/>
                <a:ext cx="360000" cy="314411"/>
              </a:xfrm>
              <a:prstGeom prst="rect">
                <a:avLst/>
              </a:prstGeom>
            </p:spPr>
          </p:pic>
          <p:sp>
            <p:nvSpPr>
              <p:cNvPr id="22" name="矩形: 圆角 21">
                <a:extLst>
                  <a:ext uri="{FF2B5EF4-FFF2-40B4-BE49-F238E27FC236}">
                    <a16:creationId xmlns:a16="http://schemas.microsoft.com/office/drawing/2014/main" id="{71902AD6-1CC4-A35E-B218-346E6715594E}"/>
                  </a:ext>
                </a:extLst>
              </p:cNvPr>
              <p:cNvSpPr/>
              <p:nvPr/>
            </p:nvSpPr>
            <p:spPr>
              <a:xfrm>
                <a:off x="2574880" y="1237723"/>
                <a:ext cx="509316" cy="468000"/>
              </a:xfrm>
              <a:prstGeom prst="roundRect">
                <a:avLst/>
              </a:prstGeom>
              <a:noFill/>
              <a:ln>
                <a:solidFill>
                  <a:srgbClr val="FFC000"/>
                </a:solidFill>
                <a:prstDash val="sys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7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E40A0C8F-70D9-C7EF-2645-6F3B343D2314}"/>
                  </a:ext>
                </a:extLst>
              </p:cNvPr>
              <p:cNvSpPr txBox="1"/>
              <p:nvPr/>
            </p:nvSpPr>
            <p:spPr>
              <a:xfrm>
                <a:off x="2574880" y="1699139"/>
                <a:ext cx="509317" cy="215436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altLang="zh-CN" sz="8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1</a:t>
                </a:r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WS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6D93933F-4910-A1B3-AE5B-7A08C0A970E7}"/>
                  </a:ext>
                </a:extLst>
              </p:cNvPr>
              <p:cNvSpPr txBox="1"/>
              <p:nvPr/>
            </p:nvSpPr>
            <p:spPr>
              <a:xfrm>
                <a:off x="3993821" y="1700532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altLang="zh-CN" sz="8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1.5</a:t>
                </a:r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WS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7D6D4F48-17D1-E077-8F34-2A558D406285}"/>
                  </a:ext>
                </a:extLst>
              </p:cNvPr>
              <p:cNvSpPr txBox="1"/>
              <p:nvPr/>
            </p:nvSpPr>
            <p:spPr>
              <a:xfrm>
                <a:off x="4899369" y="2292165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altLang="zh-CN" sz="8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2</a:t>
                </a:r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WS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42489A38-2A33-5F84-7E48-F7EA523CF26A}"/>
                  </a:ext>
                </a:extLst>
              </p:cNvPr>
              <p:cNvSpPr txBox="1"/>
              <p:nvPr/>
            </p:nvSpPr>
            <p:spPr>
              <a:xfrm>
                <a:off x="6376796" y="1370384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POC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20C5BA1F-B03D-384A-DE2A-ACD805813117}"/>
                  </a:ext>
                </a:extLst>
              </p:cNvPr>
              <p:cNvSpPr txBox="1"/>
              <p:nvPr/>
            </p:nvSpPr>
            <p:spPr>
              <a:xfrm>
                <a:off x="6360190" y="2019147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POC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pic>
            <p:nvPicPr>
              <p:cNvPr id="28" name="图片 27" descr="图片包含 徽标&#10;&#10;描述已自动生成">
                <a:extLst>
                  <a:ext uri="{FF2B5EF4-FFF2-40B4-BE49-F238E27FC236}">
                    <a16:creationId xmlns:a16="http://schemas.microsoft.com/office/drawing/2014/main" id="{CA62AA2D-3B0B-5DE0-C0D6-2EE4AFCA18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85949" y="2612736"/>
                <a:ext cx="360000" cy="325792"/>
              </a:xfrm>
              <a:prstGeom prst="rect">
                <a:avLst/>
              </a:prstGeom>
            </p:spPr>
          </p:pic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64D1EB92-A037-C35C-5511-67129C946078}"/>
                  </a:ext>
                </a:extLst>
              </p:cNvPr>
              <p:cNvSpPr txBox="1"/>
              <p:nvPr/>
            </p:nvSpPr>
            <p:spPr>
              <a:xfrm>
                <a:off x="6376796" y="2667910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POC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30" name="连接符: 肘形 29">
                <a:extLst>
                  <a:ext uri="{FF2B5EF4-FFF2-40B4-BE49-F238E27FC236}">
                    <a16:creationId xmlns:a16="http://schemas.microsoft.com/office/drawing/2014/main" id="{2269D84B-472B-D99F-1D55-9D93A037CEE5}"/>
                  </a:ext>
                </a:extLst>
              </p:cNvPr>
              <p:cNvCxnSpPr>
                <a:cxnSpLocks/>
                <a:stCxn id="23" idx="2"/>
                <a:endCxn id="12" idx="1"/>
              </p:cNvCxnSpPr>
              <p:nvPr/>
            </p:nvCxnSpPr>
            <p:spPr>
              <a:xfrm rot="16200000" flipH="1">
                <a:off x="3795636" y="948477"/>
                <a:ext cx="212294" cy="2144489"/>
              </a:xfrm>
              <a:prstGeom prst="bentConnector2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连接符: 肘形 30">
                <a:extLst>
                  <a:ext uri="{FF2B5EF4-FFF2-40B4-BE49-F238E27FC236}">
                    <a16:creationId xmlns:a16="http://schemas.microsoft.com/office/drawing/2014/main" id="{ED39C1B4-D242-6ACA-25B0-6FB147CA80A4}"/>
                  </a:ext>
                </a:extLst>
              </p:cNvPr>
              <p:cNvCxnSpPr>
                <a:cxnSpLocks/>
                <a:stCxn id="23" idx="2"/>
                <a:endCxn id="28" idx="1"/>
              </p:cNvCxnSpPr>
              <p:nvPr/>
            </p:nvCxnSpPr>
            <p:spPr>
              <a:xfrm rot="16200000" flipH="1">
                <a:off x="4027216" y="716898"/>
                <a:ext cx="861057" cy="3256410"/>
              </a:xfrm>
              <a:prstGeom prst="bentConnector2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2" name="Picture 2">
                <a:extLst>
                  <a:ext uri="{FF2B5EF4-FFF2-40B4-BE49-F238E27FC236}">
                    <a16:creationId xmlns:a16="http://schemas.microsoft.com/office/drawing/2014/main" id="{D4F128C0-8C66-BEAD-2DD7-58A453F8DB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24814" y="1248061"/>
                <a:ext cx="216000" cy="21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" name="Picture 3">
                <a:extLst>
                  <a:ext uri="{FF2B5EF4-FFF2-40B4-BE49-F238E27FC236}">
                    <a16:creationId xmlns:a16="http://schemas.microsoft.com/office/drawing/2014/main" id="{BD9985C3-5C89-2E0E-1E45-59180385876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24814" y="2547356"/>
                <a:ext cx="216000" cy="21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3">
                <a:extLst>
                  <a:ext uri="{FF2B5EF4-FFF2-40B4-BE49-F238E27FC236}">
                    <a16:creationId xmlns:a16="http://schemas.microsoft.com/office/drawing/2014/main" id="{7B5AF508-C5BC-0EDA-140A-9944867D90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28178" y="1899178"/>
                <a:ext cx="216000" cy="21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5" name="Picture 3">
                <a:extLst>
                  <a:ext uri="{FF2B5EF4-FFF2-40B4-BE49-F238E27FC236}">
                    <a16:creationId xmlns:a16="http://schemas.microsoft.com/office/drawing/2014/main" id="{9C1914DD-C644-0F2D-C5C5-C280FB69699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41214" y="1254408"/>
                <a:ext cx="216000" cy="21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0AA2720E-4E68-375A-EA6D-77D3761F536D}"/>
                </a:ext>
              </a:extLst>
            </p:cNvPr>
            <p:cNvSpPr txBox="1"/>
            <p:nvPr/>
          </p:nvSpPr>
          <p:spPr>
            <a:xfrm>
              <a:off x="1295436" y="3558177"/>
              <a:ext cx="51695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en-US" altLang="zh-CN" sz="1100" b="1" dirty="0">
                  <a:latin typeface="Calibri" panose="020F0502020204030204" pitchFamily="34" charset="0"/>
                  <a:cs typeface="Calibri" panose="020F0502020204030204" pitchFamily="34" charset="0"/>
                </a:rPr>
                <a:t>STW</a:t>
              </a:r>
              <a:endPara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C32FCB68-7CD5-9F8C-40B3-8CF127C82459}"/>
                </a:ext>
              </a:extLst>
            </p:cNvPr>
            <p:cNvSpPr txBox="1"/>
            <p:nvPr/>
          </p:nvSpPr>
          <p:spPr>
            <a:xfrm>
              <a:off x="3507704" y="3558177"/>
              <a:ext cx="51695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en-US" altLang="zh-CN" sz="1100" b="1" dirty="0">
                  <a:latin typeface="Calibri" panose="020F0502020204030204" pitchFamily="34" charset="0"/>
                  <a:cs typeface="Calibri" panose="020F0502020204030204" pitchFamily="34" charset="0"/>
                </a:rPr>
                <a:t>STR</a:t>
              </a:r>
              <a:endPara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1" name="Picture 3">
              <a:extLst>
                <a:ext uri="{FF2B5EF4-FFF2-40B4-BE49-F238E27FC236}">
                  <a16:creationId xmlns:a16="http://schemas.microsoft.com/office/drawing/2014/main" id="{30C6A328-0A93-A3D5-BF96-B1649E723B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2330" y="1929040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F476EEED-97BF-575E-51D2-9B256226F887}"/>
              </a:ext>
            </a:extLst>
          </p:cNvPr>
          <p:cNvGrpSpPr/>
          <p:nvPr/>
        </p:nvGrpSpPr>
        <p:grpSpPr>
          <a:xfrm>
            <a:off x="2941796" y="2909752"/>
            <a:ext cx="5573899" cy="1741037"/>
            <a:chOff x="493087" y="1938659"/>
            <a:chExt cx="5573899" cy="1741037"/>
          </a:xfrm>
        </p:grpSpPr>
        <p:grpSp>
          <p:nvGrpSpPr>
            <p:cNvPr id="37" name="组合 36">
              <a:extLst>
                <a:ext uri="{FF2B5EF4-FFF2-40B4-BE49-F238E27FC236}">
                  <a16:creationId xmlns:a16="http://schemas.microsoft.com/office/drawing/2014/main" id="{889F3F96-EC69-E100-6B54-675D3E8B3434}"/>
                </a:ext>
              </a:extLst>
            </p:cNvPr>
            <p:cNvGrpSpPr/>
            <p:nvPr/>
          </p:nvGrpSpPr>
          <p:grpSpPr>
            <a:xfrm>
              <a:off x="493087" y="1978575"/>
              <a:ext cx="5573899" cy="1701121"/>
              <a:chOff x="1508639" y="1257727"/>
              <a:chExt cx="5573899" cy="1701121"/>
            </a:xfrm>
          </p:grpSpPr>
          <p:pic>
            <p:nvPicPr>
              <p:cNvPr id="44" name="图片 43" descr="形状&#10;&#10;低可信度描述已自动生成">
                <a:extLst>
                  <a:ext uri="{FF2B5EF4-FFF2-40B4-BE49-F238E27FC236}">
                    <a16:creationId xmlns:a16="http://schemas.microsoft.com/office/drawing/2014/main" id="{C0D91F96-8772-BB17-3ED4-FDD96EF4FA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190776" y="1967189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45" name="图片 44">
                <a:extLst>
                  <a:ext uri="{FF2B5EF4-FFF2-40B4-BE49-F238E27FC236}">
                    <a16:creationId xmlns:a16="http://schemas.microsoft.com/office/drawing/2014/main" id="{844E7F4C-00EB-9B8A-92CD-F6E4EC553D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508639" y="1985189"/>
                <a:ext cx="951320" cy="324000"/>
              </a:xfrm>
              <a:prstGeom prst="rect">
                <a:avLst/>
              </a:prstGeom>
            </p:spPr>
          </p:pic>
          <p:pic>
            <p:nvPicPr>
              <p:cNvPr id="46" name="图片 45" descr="形状&#10;&#10;低可信度描述已自动生成">
                <a:extLst>
                  <a:ext uri="{FF2B5EF4-FFF2-40B4-BE49-F238E27FC236}">
                    <a16:creationId xmlns:a16="http://schemas.microsoft.com/office/drawing/2014/main" id="{CF3FF72A-35E3-49E8-A931-3F38383FD7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97577" y="1318426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47" name="图片 46" descr="图片包含 徽标&#10;&#10;描述已自动生成">
                <a:extLst>
                  <a:ext uri="{FF2B5EF4-FFF2-40B4-BE49-F238E27FC236}">
                    <a16:creationId xmlns:a16="http://schemas.microsoft.com/office/drawing/2014/main" id="{179BF9B5-9A0E-22AB-FA6E-F3A8072054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82374" y="1335530"/>
                <a:ext cx="360000" cy="325792"/>
              </a:xfrm>
              <a:prstGeom prst="rect">
                <a:avLst/>
              </a:prstGeom>
            </p:spPr>
          </p:pic>
          <p:pic>
            <p:nvPicPr>
              <p:cNvPr id="48" name="图片 47" descr="图片包含 徽标&#10;&#10;描述已自动生成">
                <a:extLst>
                  <a:ext uri="{FF2B5EF4-FFF2-40B4-BE49-F238E27FC236}">
                    <a16:creationId xmlns:a16="http://schemas.microsoft.com/office/drawing/2014/main" id="{3891B7D1-A074-5D0E-B3C7-B13E1CA5CD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82374" y="1984293"/>
                <a:ext cx="360000" cy="325792"/>
              </a:xfrm>
              <a:prstGeom prst="rect">
                <a:avLst/>
              </a:prstGeom>
            </p:spPr>
          </p:pic>
          <p:cxnSp>
            <p:nvCxnSpPr>
              <p:cNvPr id="49" name="直接箭头连接符 48">
                <a:extLst>
                  <a:ext uri="{FF2B5EF4-FFF2-40B4-BE49-F238E27FC236}">
                    <a16:creationId xmlns:a16="http://schemas.microsoft.com/office/drawing/2014/main" id="{E5184E2F-F117-7CA1-08F0-015DE7752BCE}"/>
                  </a:ext>
                </a:extLst>
              </p:cNvPr>
              <p:cNvCxnSpPr>
                <a:cxnSpLocks/>
                <a:stCxn id="45" idx="3"/>
                <a:endCxn id="53" idx="1"/>
              </p:cNvCxnSpPr>
              <p:nvPr/>
            </p:nvCxnSpPr>
            <p:spPr>
              <a:xfrm>
                <a:off x="2459959" y="2147189"/>
                <a:ext cx="1537618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直接箭头连接符 49">
                <a:extLst>
                  <a:ext uri="{FF2B5EF4-FFF2-40B4-BE49-F238E27FC236}">
                    <a16:creationId xmlns:a16="http://schemas.microsoft.com/office/drawing/2014/main" id="{47CDEE05-2BC9-86FE-2D24-C8F4881E55F5}"/>
                  </a:ext>
                </a:extLst>
              </p:cNvPr>
              <p:cNvCxnSpPr>
                <a:cxnSpLocks/>
                <a:stCxn id="53" idx="3"/>
                <a:endCxn id="44" idx="1"/>
              </p:cNvCxnSpPr>
              <p:nvPr/>
            </p:nvCxnSpPr>
            <p:spPr>
              <a:xfrm>
                <a:off x="4357577" y="2147189"/>
                <a:ext cx="833199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直接箭头连接符 50">
                <a:extLst>
                  <a:ext uri="{FF2B5EF4-FFF2-40B4-BE49-F238E27FC236}">
                    <a16:creationId xmlns:a16="http://schemas.microsoft.com/office/drawing/2014/main" id="{164719AF-82BE-8712-DA8C-3DA5C70D6AD3}"/>
                  </a:ext>
                </a:extLst>
              </p:cNvPr>
              <p:cNvCxnSpPr>
                <a:cxnSpLocks/>
                <a:stCxn id="46" idx="3"/>
                <a:endCxn id="47" idx="1"/>
              </p:cNvCxnSpPr>
              <p:nvPr/>
            </p:nvCxnSpPr>
            <p:spPr>
              <a:xfrm>
                <a:off x="4357577" y="1498426"/>
                <a:ext cx="1924797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直接箭头连接符 51">
                <a:extLst>
                  <a:ext uri="{FF2B5EF4-FFF2-40B4-BE49-F238E27FC236}">
                    <a16:creationId xmlns:a16="http://schemas.microsoft.com/office/drawing/2014/main" id="{90E07803-8DA6-6F85-C48F-511F2E384C4F}"/>
                  </a:ext>
                </a:extLst>
              </p:cNvPr>
              <p:cNvCxnSpPr>
                <a:cxnSpLocks/>
                <a:stCxn id="44" idx="3"/>
                <a:endCxn id="48" idx="1"/>
              </p:cNvCxnSpPr>
              <p:nvPr/>
            </p:nvCxnSpPr>
            <p:spPr>
              <a:xfrm>
                <a:off x="5550776" y="2147189"/>
                <a:ext cx="731598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3" name="图片 52" descr="形状&#10;&#10;低可信度描述已自动生成">
                <a:extLst>
                  <a:ext uri="{FF2B5EF4-FFF2-40B4-BE49-F238E27FC236}">
                    <a16:creationId xmlns:a16="http://schemas.microsoft.com/office/drawing/2014/main" id="{8AD75387-B79B-CA49-3944-5AB997B0BE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97577" y="1967189"/>
                <a:ext cx="360000" cy="360000"/>
              </a:xfrm>
              <a:prstGeom prst="rect">
                <a:avLst/>
              </a:prstGeom>
            </p:spPr>
          </p:pic>
          <p:cxnSp>
            <p:nvCxnSpPr>
              <p:cNvPr id="54" name="连接符: 肘形 53">
                <a:extLst>
                  <a:ext uri="{FF2B5EF4-FFF2-40B4-BE49-F238E27FC236}">
                    <a16:creationId xmlns:a16="http://schemas.microsoft.com/office/drawing/2014/main" id="{27689F8C-D1D8-6E59-46FE-D7C9BEB9FF3C}"/>
                  </a:ext>
                </a:extLst>
              </p:cNvPr>
              <p:cNvCxnSpPr>
                <a:cxnSpLocks/>
                <a:stCxn id="45" idx="0"/>
                <a:endCxn id="56" idx="1"/>
              </p:cNvCxnSpPr>
              <p:nvPr/>
            </p:nvCxnSpPr>
            <p:spPr>
              <a:xfrm rot="5400000" flipH="1" flipV="1">
                <a:off x="2202266" y="1280460"/>
                <a:ext cx="486762" cy="922697"/>
              </a:xfrm>
              <a:prstGeom prst="bentConnector2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直接箭头连接符 54">
                <a:extLst>
                  <a:ext uri="{FF2B5EF4-FFF2-40B4-BE49-F238E27FC236}">
                    <a16:creationId xmlns:a16="http://schemas.microsoft.com/office/drawing/2014/main" id="{A05C2378-BAC8-5A42-C912-6F306D4377A3}"/>
                  </a:ext>
                </a:extLst>
              </p:cNvPr>
              <p:cNvCxnSpPr>
                <a:cxnSpLocks/>
                <a:stCxn id="56" idx="3"/>
                <a:endCxn id="46" idx="1"/>
              </p:cNvCxnSpPr>
              <p:nvPr/>
            </p:nvCxnSpPr>
            <p:spPr>
              <a:xfrm flipV="1">
                <a:off x="3266996" y="1498426"/>
                <a:ext cx="730581" cy="1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6" name="图片 55" descr="图标&#10;&#10;描述已自动生成">
                <a:extLst>
                  <a:ext uri="{FF2B5EF4-FFF2-40B4-BE49-F238E27FC236}">
                    <a16:creationId xmlns:a16="http://schemas.microsoft.com/office/drawing/2014/main" id="{E4CE2F20-B230-E4BC-DC19-4847506E2B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06996" y="1341221"/>
                <a:ext cx="360000" cy="314411"/>
              </a:xfrm>
              <a:prstGeom prst="rect">
                <a:avLst/>
              </a:prstGeom>
            </p:spPr>
          </p:pic>
          <p:sp>
            <p:nvSpPr>
              <p:cNvPr id="57" name="矩形: 圆角 56">
                <a:extLst>
                  <a:ext uri="{FF2B5EF4-FFF2-40B4-BE49-F238E27FC236}">
                    <a16:creationId xmlns:a16="http://schemas.microsoft.com/office/drawing/2014/main" id="{CA985B88-0528-4EC0-1A52-787FBB3062B9}"/>
                  </a:ext>
                </a:extLst>
              </p:cNvPr>
              <p:cNvSpPr/>
              <p:nvPr/>
            </p:nvSpPr>
            <p:spPr>
              <a:xfrm>
                <a:off x="3902388" y="1257727"/>
                <a:ext cx="509316" cy="1142523"/>
              </a:xfrm>
              <a:prstGeom prst="roundRect">
                <a:avLst/>
              </a:prstGeom>
              <a:noFill/>
              <a:ln>
                <a:solidFill>
                  <a:srgbClr val="FFC000"/>
                </a:solidFill>
                <a:prstDash val="sys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7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文本框 57">
                <a:extLst>
                  <a:ext uri="{FF2B5EF4-FFF2-40B4-BE49-F238E27FC236}">
                    <a16:creationId xmlns:a16="http://schemas.microsoft.com/office/drawing/2014/main" id="{97067F3B-8F2C-9FBD-EBBA-8349199A9282}"/>
                  </a:ext>
                </a:extLst>
              </p:cNvPr>
              <p:cNvSpPr txBox="1"/>
              <p:nvPr/>
            </p:nvSpPr>
            <p:spPr>
              <a:xfrm>
                <a:off x="2791627" y="1719459"/>
                <a:ext cx="509317" cy="215436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altLang="zh-CN" sz="8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1</a:t>
                </a:r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WS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9" name="文本框 58">
                <a:extLst>
                  <a:ext uri="{FF2B5EF4-FFF2-40B4-BE49-F238E27FC236}">
                    <a16:creationId xmlns:a16="http://schemas.microsoft.com/office/drawing/2014/main" id="{39C5815C-8DE4-FCDE-3A79-0BC4C708DEDF}"/>
                  </a:ext>
                </a:extLst>
              </p:cNvPr>
              <p:cNvSpPr txBox="1"/>
              <p:nvPr/>
            </p:nvSpPr>
            <p:spPr>
              <a:xfrm>
                <a:off x="3922918" y="1719451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altLang="zh-CN" sz="8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1.5</a:t>
                </a:r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WS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0" name="文本框 59">
                <a:extLst>
                  <a:ext uri="{FF2B5EF4-FFF2-40B4-BE49-F238E27FC236}">
                    <a16:creationId xmlns:a16="http://schemas.microsoft.com/office/drawing/2014/main" id="{AB7A5D6F-20A3-8AB1-D154-7A897A5F2FF9}"/>
                  </a:ext>
                </a:extLst>
              </p:cNvPr>
              <p:cNvSpPr txBox="1"/>
              <p:nvPr/>
            </p:nvSpPr>
            <p:spPr>
              <a:xfrm>
                <a:off x="5090669" y="1719451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altLang="zh-CN" sz="8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2.5</a:t>
                </a:r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WS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1" name="文本框 60">
                <a:extLst>
                  <a:ext uri="{FF2B5EF4-FFF2-40B4-BE49-F238E27FC236}">
                    <a16:creationId xmlns:a16="http://schemas.microsoft.com/office/drawing/2014/main" id="{642064F9-1E85-5C9B-05BD-CDCB3F342EE1}"/>
                  </a:ext>
                </a:extLst>
              </p:cNvPr>
              <p:cNvSpPr txBox="1"/>
              <p:nvPr/>
            </p:nvSpPr>
            <p:spPr>
              <a:xfrm>
                <a:off x="6573221" y="1390704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POC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2" name="文本框 61">
                <a:extLst>
                  <a:ext uri="{FF2B5EF4-FFF2-40B4-BE49-F238E27FC236}">
                    <a16:creationId xmlns:a16="http://schemas.microsoft.com/office/drawing/2014/main" id="{9E94B971-6377-AA2E-ED16-D388F9D10817}"/>
                  </a:ext>
                </a:extLst>
              </p:cNvPr>
              <p:cNvSpPr txBox="1"/>
              <p:nvPr/>
            </p:nvSpPr>
            <p:spPr>
              <a:xfrm>
                <a:off x="6556615" y="2039467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POC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pic>
            <p:nvPicPr>
              <p:cNvPr id="63" name="图片 62" descr="图片包含 徽标&#10;&#10;描述已自动生成">
                <a:extLst>
                  <a:ext uri="{FF2B5EF4-FFF2-40B4-BE49-F238E27FC236}">
                    <a16:creationId xmlns:a16="http://schemas.microsoft.com/office/drawing/2014/main" id="{C800D810-4C37-B5CE-4597-E3D912C8FA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82374" y="2633056"/>
                <a:ext cx="360000" cy="325792"/>
              </a:xfrm>
              <a:prstGeom prst="rect">
                <a:avLst/>
              </a:prstGeom>
            </p:spPr>
          </p:pic>
          <p:sp>
            <p:nvSpPr>
              <p:cNvPr id="64" name="文本框 63">
                <a:extLst>
                  <a:ext uri="{FF2B5EF4-FFF2-40B4-BE49-F238E27FC236}">
                    <a16:creationId xmlns:a16="http://schemas.microsoft.com/office/drawing/2014/main" id="{12510FE7-0BCF-CCDC-30E4-59D378ED4E28}"/>
                  </a:ext>
                </a:extLst>
              </p:cNvPr>
              <p:cNvSpPr txBox="1"/>
              <p:nvPr/>
            </p:nvSpPr>
            <p:spPr>
              <a:xfrm>
                <a:off x="6573221" y="2688230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POC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65" name="直接箭头连接符 64">
                <a:extLst>
                  <a:ext uri="{FF2B5EF4-FFF2-40B4-BE49-F238E27FC236}">
                    <a16:creationId xmlns:a16="http://schemas.microsoft.com/office/drawing/2014/main" id="{66F0AD32-61E6-93AE-4E76-991596A82D8E}"/>
                  </a:ext>
                </a:extLst>
              </p:cNvPr>
              <p:cNvCxnSpPr>
                <a:cxnSpLocks/>
                <a:stCxn id="53" idx="3"/>
                <a:endCxn id="63" idx="1"/>
              </p:cNvCxnSpPr>
              <p:nvPr/>
            </p:nvCxnSpPr>
            <p:spPr>
              <a:xfrm>
                <a:off x="4357577" y="2147189"/>
                <a:ext cx="1924797" cy="648763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6" name="Picture 2">
                <a:extLst>
                  <a:ext uri="{FF2B5EF4-FFF2-40B4-BE49-F238E27FC236}">
                    <a16:creationId xmlns:a16="http://schemas.microsoft.com/office/drawing/2014/main" id="{E0D0BBF2-A714-0825-8589-0BA5CB6B158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09764" y="1277122"/>
                <a:ext cx="216000" cy="21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7" name="Picture 3">
                <a:extLst>
                  <a:ext uri="{FF2B5EF4-FFF2-40B4-BE49-F238E27FC236}">
                    <a16:creationId xmlns:a16="http://schemas.microsoft.com/office/drawing/2014/main" id="{42EB3A85-7D67-ABA0-65BA-F633859778A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09764" y="1920580"/>
                <a:ext cx="216000" cy="21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8" name="Picture 3">
                <a:extLst>
                  <a:ext uri="{FF2B5EF4-FFF2-40B4-BE49-F238E27FC236}">
                    <a16:creationId xmlns:a16="http://schemas.microsoft.com/office/drawing/2014/main" id="{4D16CE1E-BE17-201E-A041-02429CED92A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09764" y="2342733"/>
                <a:ext cx="216000" cy="21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38" name="Picture 3">
              <a:extLst>
                <a:ext uri="{FF2B5EF4-FFF2-40B4-BE49-F238E27FC236}">
                  <a16:creationId xmlns:a16="http://schemas.microsoft.com/office/drawing/2014/main" id="{784202B0-00E3-A93C-33EE-D6903BEB9B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7413" y="2643752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2">
              <a:extLst>
                <a:ext uri="{FF2B5EF4-FFF2-40B4-BE49-F238E27FC236}">
                  <a16:creationId xmlns:a16="http://schemas.microsoft.com/office/drawing/2014/main" id="{EEBE0E40-0BAF-7FCB-DCA6-E7B4C145A9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7413" y="1985275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矩形: 圆角 39">
              <a:extLst>
                <a:ext uri="{FF2B5EF4-FFF2-40B4-BE49-F238E27FC236}">
                  <a16:creationId xmlns:a16="http://schemas.microsoft.com/office/drawing/2014/main" id="{084B6ACE-710C-8184-AD83-F0F5F8586041}"/>
                </a:ext>
              </a:extLst>
            </p:cNvPr>
            <p:cNvSpPr/>
            <p:nvPr/>
          </p:nvSpPr>
          <p:spPr>
            <a:xfrm>
              <a:off x="2259085" y="1938659"/>
              <a:ext cx="509316" cy="1377144"/>
            </a:xfrm>
            <a:prstGeom prst="roundRect">
              <a:avLst/>
            </a:prstGeom>
            <a:noFill/>
            <a:ln>
              <a:solidFill>
                <a:srgbClr val="D00A2E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75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" name="矩形: 圆角 40">
              <a:extLst>
                <a:ext uri="{FF2B5EF4-FFF2-40B4-BE49-F238E27FC236}">
                  <a16:creationId xmlns:a16="http://schemas.microsoft.com/office/drawing/2014/main" id="{86DAD457-AF14-37E5-9CB2-ECB0AA9E36FB}"/>
                </a:ext>
              </a:extLst>
            </p:cNvPr>
            <p:cNvSpPr/>
            <p:nvPr/>
          </p:nvSpPr>
          <p:spPr>
            <a:xfrm>
              <a:off x="3542045" y="1938659"/>
              <a:ext cx="509316" cy="1377145"/>
            </a:xfrm>
            <a:prstGeom prst="roundRect">
              <a:avLst/>
            </a:prstGeom>
            <a:noFill/>
            <a:ln>
              <a:solidFill>
                <a:srgbClr val="D00A2E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75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A6F367AC-6C26-DC07-FE2A-43D45F2B598F}"/>
                </a:ext>
              </a:extLst>
            </p:cNvPr>
            <p:cNvSpPr txBox="1"/>
            <p:nvPr/>
          </p:nvSpPr>
          <p:spPr>
            <a:xfrm>
              <a:off x="2251444" y="3332631"/>
              <a:ext cx="51695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en-US" altLang="zh-CN" sz="1100" b="1" dirty="0">
                  <a:latin typeface="Calibri" panose="020F0502020204030204" pitchFamily="34" charset="0"/>
                  <a:cs typeface="Calibri" panose="020F0502020204030204" pitchFamily="34" charset="0"/>
                </a:rPr>
                <a:t>STW</a:t>
              </a:r>
              <a:endPara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id="{72B4D9C4-444F-E079-B11B-535F05C2C01D}"/>
                </a:ext>
              </a:extLst>
            </p:cNvPr>
            <p:cNvSpPr txBox="1"/>
            <p:nvPr/>
          </p:nvSpPr>
          <p:spPr>
            <a:xfrm>
              <a:off x="3540704" y="3328047"/>
              <a:ext cx="51695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en-US" altLang="zh-CN" sz="1100" b="1" dirty="0">
                  <a:latin typeface="Calibri" panose="020F0502020204030204" pitchFamily="34" charset="0"/>
                  <a:cs typeface="Calibri" panose="020F0502020204030204" pitchFamily="34" charset="0"/>
                </a:rPr>
                <a:t>STR</a:t>
              </a:r>
              <a:endPara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9" name="标题 1">
            <a:extLst>
              <a:ext uri="{FF2B5EF4-FFF2-40B4-BE49-F238E27FC236}">
                <a16:creationId xmlns:a16="http://schemas.microsoft.com/office/drawing/2014/main" id="{1F328697-AA94-149D-55D9-D97D37037819}"/>
              </a:ext>
            </a:extLst>
          </p:cNvPr>
          <p:cNvSpPr txBox="1">
            <a:spLocks/>
          </p:cNvSpPr>
          <p:nvPr/>
        </p:nvSpPr>
        <p:spPr>
          <a:xfrm>
            <a:off x="1584908" y="1377011"/>
            <a:ext cx="1270000" cy="315471"/>
          </a:xfrm>
          <a:prstGeom prst="rect">
            <a:avLst/>
          </a:prstGeom>
          <a:ln w="12700">
            <a:miter lim="400000"/>
          </a:ln>
        </p:spPr>
        <p:txBody>
          <a:bodyPr vert="horz" wrap="square" lIns="19050" tIns="19050" rIns="19050" bIns="19050" rtlCol="0" anchor="ctr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Arial"/>
                <a:ea typeface="Arial"/>
                <a:cs typeface="Arial"/>
                <a:sym typeface="Helvetica Neue"/>
              </a:defRPr>
            </a:lvl1pPr>
          </a:lstStyle>
          <a:p>
            <a:r>
              <a:rPr lang="en-US" altLang="zh-CN" sz="2000" dirty="0"/>
              <a:t>As a T1</a:t>
            </a:r>
            <a:endParaRPr lang="zh-CN" altLang="en-US" sz="2000" dirty="0"/>
          </a:p>
        </p:txBody>
      </p:sp>
      <p:sp>
        <p:nvSpPr>
          <p:cNvPr id="70" name="标题 1">
            <a:extLst>
              <a:ext uri="{FF2B5EF4-FFF2-40B4-BE49-F238E27FC236}">
                <a16:creationId xmlns:a16="http://schemas.microsoft.com/office/drawing/2014/main" id="{BC3469F8-D616-AF9F-981A-6A790A561523}"/>
              </a:ext>
            </a:extLst>
          </p:cNvPr>
          <p:cNvSpPr txBox="1">
            <a:spLocks/>
          </p:cNvSpPr>
          <p:nvPr/>
        </p:nvSpPr>
        <p:spPr>
          <a:xfrm>
            <a:off x="1584908" y="3298089"/>
            <a:ext cx="1270000" cy="315471"/>
          </a:xfrm>
          <a:prstGeom prst="rect">
            <a:avLst/>
          </a:prstGeom>
          <a:ln w="12700">
            <a:miter lim="400000"/>
          </a:ln>
        </p:spPr>
        <p:txBody>
          <a:bodyPr vert="horz" wrap="square" lIns="19050" tIns="19050" rIns="19050" bIns="19050" rtlCol="0" anchor="ctr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Arial"/>
                <a:ea typeface="Arial"/>
                <a:cs typeface="Arial"/>
                <a:sym typeface="Helvetica Neue"/>
              </a:defRPr>
            </a:lvl1pPr>
          </a:lstStyle>
          <a:p>
            <a:r>
              <a:rPr lang="en-US" altLang="zh-CN" sz="2000" dirty="0"/>
              <a:t>As a T1.5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640534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6A882B85-A93C-2508-612E-2F17EF4700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49EE1FA-814C-4BDC-9591-31839B5CF716}" type="slidenum">
              <a:rPr lang="en-US" smtClean="0"/>
              <a:pPr/>
              <a:t>7</a:t>
            </a:fld>
            <a:endParaRPr lang="en-US"/>
          </a:p>
        </p:txBody>
      </p: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3518E1E3-D971-C1EC-8059-6B7FB89D0F9B}"/>
              </a:ext>
            </a:extLst>
          </p:cNvPr>
          <p:cNvGrpSpPr/>
          <p:nvPr/>
        </p:nvGrpSpPr>
        <p:grpSpPr>
          <a:xfrm>
            <a:off x="3106552" y="2958437"/>
            <a:ext cx="5573899" cy="1701121"/>
            <a:chOff x="93037" y="1721189"/>
            <a:chExt cx="5573899" cy="1701121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23BDEEDE-F871-B76F-0D55-A63AA6EC2325}"/>
                </a:ext>
              </a:extLst>
            </p:cNvPr>
            <p:cNvGrpSpPr/>
            <p:nvPr/>
          </p:nvGrpSpPr>
          <p:grpSpPr>
            <a:xfrm>
              <a:off x="93037" y="1721189"/>
              <a:ext cx="5573899" cy="1701121"/>
              <a:chOff x="1508639" y="1257727"/>
              <a:chExt cx="5573899" cy="1701121"/>
            </a:xfrm>
          </p:grpSpPr>
          <p:pic>
            <p:nvPicPr>
              <p:cNvPr id="6" name="图片 5" descr="形状&#10;&#10;低可信度描述已自动生成">
                <a:extLst>
                  <a:ext uri="{FF2B5EF4-FFF2-40B4-BE49-F238E27FC236}">
                    <a16:creationId xmlns:a16="http://schemas.microsoft.com/office/drawing/2014/main" id="{18C6C1A2-647D-4765-65DF-FBA636A60E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190776" y="1967189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7" name="图片 6">
                <a:extLst>
                  <a:ext uri="{FF2B5EF4-FFF2-40B4-BE49-F238E27FC236}">
                    <a16:creationId xmlns:a16="http://schemas.microsoft.com/office/drawing/2014/main" id="{DC8376CB-4997-8921-8950-6A5AF8935D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508639" y="1985189"/>
                <a:ext cx="951320" cy="324000"/>
              </a:xfrm>
              <a:prstGeom prst="rect">
                <a:avLst/>
              </a:prstGeom>
            </p:spPr>
          </p:pic>
          <p:pic>
            <p:nvPicPr>
              <p:cNvPr id="8" name="图片 7" descr="形状&#10;&#10;低可信度描述已自动生成">
                <a:extLst>
                  <a:ext uri="{FF2B5EF4-FFF2-40B4-BE49-F238E27FC236}">
                    <a16:creationId xmlns:a16="http://schemas.microsoft.com/office/drawing/2014/main" id="{94A32C09-3CDF-2E2B-648B-4E152A30AF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97577" y="1318426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9" name="图片 8" descr="图片包含 徽标&#10;&#10;描述已自动生成">
                <a:extLst>
                  <a:ext uri="{FF2B5EF4-FFF2-40B4-BE49-F238E27FC236}">
                    <a16:creationId xmlns:a16="http://schemas.microsoft.com/office/drawing/2014/main" id="{8DD6F62F-CA78-8448-333A-49FCF0F533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82374" y="1335530"/>
                <a:ext cx="360000" cy="325792"/>
              </a:xfrm>
              <a:prstGeom prst="rect">
                <a:avLst/>
              </a:prstGeom>
            </p:spPr>
          </p:pic>
          <p:pic>
            <p:nvPicPr>
              <p:cNvPr id="10" name="图片 9" descr="图片包含 徽标&#10;&#10;描述已自动生成">
                <a:extLst>
                  <a:ext uri="{FF2B5EF4-FFF2-40B4-BE49-F238E27FC236}">
                    <a16:creationId xmlns:a16="http://schemas.microsoft.com/office/drawing/2014/main" id="{1B92C3FF-C6C8-989D-1100-CD03E1BAF6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82374" y="1984293"/>
                <a:ext cx="360000" cy="325792"/>
              </a:xfrm>
              <a:prstGeom prst="rect">
                <a:avLst/>
              </a:prstGeom>
            </p:spPr>
          </p:pic>
          <p:cxnSp>
            <p:nvCxnSpPr>
              <p:cNvPr id="11" name="直接箭头连接符 10">
                <a:extLst>
                  <a:ext uri="{FF2B5EF4-FFF2-40B4-BE49-F238E27FC236}">
                    <a16:creationId xmlns:a16="http://schemas.microsoft.com/office/drawing/2014/main" id="{10D11D09-1679-1D8B-CE6F-0A88EF9252E4}"/>
                  </a:ext>
                </a:extLst>
              </p:cNvPr>
              <p:cNvCxnSpPr>
                <a:cxnSpLocks/>
                <a:stCxn id="7" idx="3"/>
                <a:endCxn id="15" idx="1"/>
              </p:cNvCxnSpPr>
              <p:nvPr/>
            </p:nvCxnSpPr>
            <p:spPr>
              <a:xfrm>
                <a:off x="2459959" y="2147189"/>
                <a:ext cx="1537618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接箭头连接符 11">
                <a:extLst>
                  <a:ext uri="{FF2B5EF4-FFF2-40B4-BE49-F238E27FC236}">
                    <a16:creationId xmlns:a16="http://schemas.microsoft.com/office/drawing/2014/main" id="{5900293C-51CC-1C11-6760-05A70303BC65}"/>
                  </a:ext>
                </a:extLst>
              </p:cNvPr>
              <p:cNvCxnSpPr>
                <a:cxnSpLocks/>
                <a:stCxn id="15" idx="3"/>
                <a:endCxn id="6" idx="1"/>
              </p:cNvCxnSpPr>
              <p:nvPr/>
            </p:nvCxnSpPr>
            <p:spPr>
              <a:xfrm>
                <a:off x="4357577" y="2147189"/>
                <a:ext cx="833199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箭头连接符 12">
                <a:extLst>
                  <a:ext uri="{FF2B5EF4-FFF2-40B4-BE49-F238E27FC236}">
                    <a16:creationId xmlns:a16="http://schemas.microsoft.com/office/drawing/2014/main" id="{4E98F942-4770-0E9A-8D33-C5EC5C47C75E}"/>
                  </a:ext>
                </a:extLst>
              </p:cNvPr>
              <p:cNvCxnSpPr>
                <a:cxnSpLocks/>
                <a:stCxn id="8" idx="3"/>
                <a:endCxn id="9" idx="1"/>
              </p:cNvCxnSpPr>
              <p:nvPr/>
            </p:nvCxnSpPr>
            <p:spPr>
              <a:xfrm>
                <a:off x="4357577" y="1498426"/>
                <a:ext cx="1924797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直接箭头连接符 13">
                <a:extLst>
                  <a:ext uri="{FF2B5EF4-FFF2-40B4-BE49-F238E27FC236}">
                    <a16:creationId xmlns:a16="http://schemas.microsoft.com/office/drawing/2014/main" id="{5ACA1E7D-0ABD-8D1C-248E-9F0FE16F8E82}"/>
                  </a:ext>
                </a:extLst>
              </p:cNvPr>
              <p:cNvCxnSpPr>
                <a:cxnSpLocks/>
                <a:stCxn id="6" idx="3"/>
                <a:endCxn id="10" idx="1"/>
              </p:cNvCxnSpPr>
              <p:nvPr/>
            </p:nvCxnSpPr>
            <p:spPr>
              <a:xfrm>
                <a:off x="5550776" y="2147189"/>
                <a:ext cx="731598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5" name="图片 14" descr="形状&#10;&#10;低可信度描述已自动生成">
                <a:extLst>
                  <a:ext uri="{FF2B5EF4-FFF2-40B4-BE49-F238E27FC236}">
                    <a16:creationId xmlns:a16="http://schemas.microsoft.com/office/drawing/2014/main" id="{22A50C17-0839-9C54-6593-CBB8E6A4A2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97577" y="1967189"/>
                <a:ext cx="360000" cy="360000"/>
              </a:xfrm>
              <a:prstGeom prst="rect">
                <a:avLst/>
              </a:prstGeom>
            </p:spPr>
          </p:pic>
          <p:cxnSp>
            <p:nvCxnSpPr>
              <p:cNvPr id="16" name="连接符: 肘形 15">
                <a:extLst>
                  <a:ext uri="{FF2B5EF4-FFF2-40B4-BE49-F238E27FC236}">
                    <a16:creationId xmlns:a16="http://schemas.microsoft.com/office/drawing/2014/main" id="{2B1FE55B-1F48-AA0D-8FEE-93AE57F89AC7}"/>
                  </a:ext>
                </a:extLst>
              </p:cNvPr>
              <p:cNvCxnSpPr>
                <a:cxnSpLocks/>
                <a:stCxn id="7" idx="0"/>
                <a:endCxn id="18" idx="1"/>
              </p:cNvCxnSpPr>
              <p:nvPr/>
            </p:nvCxnSpPr>
            <p:spPr>
              <a:xfrm rot="5400000" flipH="1" flipV="1">
                <a:off x="2202266" y="1280460"/>
                <a:ext cx="486762" cy="922697"/>
              </a:xfrm>
              <a:prstGeom prst="bentConnector2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箭头连接符 16">
                <a:extLst>
                  <a:ext uri="{FF2B5EF4-FFF2-40B4-BE49-F238E27FC236}">
                    <a16:creationId xmlns:a16="http://schemas.microsoft.com/office/drawing/2014/main" id="{1626C9DE-63C3-6F6D-753D-F4FC85D42036}"/>
                  </a:ext>
                </a:extLst>
              </p:cNvPr>
              <p:cNvCxnSpPr>
                <a:cxnSpLocks/>
                <a:stCxn id="18" idx="3"/>
                <a:endCxn id="8" idx="1"/>
              </p:cNvCxnSpPr>
              <p:nvPr/>
            </p:nvCxnSpPr>
            <p:spPr>
              <a:xfrm flipV="1">
                <a:off x="3266996" y="1498426"/>
                <a:ext cx="730581" cy="1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8" name="图片 17" descr="图标&#10;&#10;描述已自动生成">
                <a:extLst>
                  <a:ext uri="{FF2B5EF4-FFF2-40B4-BE49-F238E27FC236}">
                    <a16:creationId xmlns:a16="http://schemas.microsoft.com/office/drawing/2014/main" id="{5E76ED6E-68CC-495B-AF33-FB3E71F904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06996" y="1341221"/>
                <a:ext cx="360000" cy="314411"/>
              </a:xfrm>
              <a:prstGeom prst="rect">
                <a:avLst/>
              </a:prstGeom>
            </p:spPr>
          </p:pic>
          <p:sp>
            <p:nvSpPr>
              <p:cNvPr id="19" name="矩形: 圆角 18">
                <a:extLst>
                  <a:ext uri="{FF2B5EF4-FFF2-40B4-BE49-F238E27FC236}">
                    <a16:creationId xmlns:a16="http://schemas.microsoft.com/office/drawing/2014/main" id="{E7AB37C7-88ED-AB9E-E982-5DB74D845698}"/>
                  </a:ext>
                </a:extLst>
              </p:cNvPr>
              <p:cNvSpPr/>
              <p:nvPr/>
            </p:nvSpPr>
            <p:spPr>
              <a:xfrm>
                <a:off x="3902388" y="1257727"/>
                <a:ext cx="509316" cy="1142523"/>
              </a:xfrm>
              <a:prstGeom prst="roundRect">
                <a:avLst/>
              </a:prstGeom>
              <a:noFill/>
              <a:ln>
                <a:solidFill>
                  <a:srgbClr val="FFC000"/>
                </a:solidFill>
                <a:prstDash val="sys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75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DA7EC9D6-71E8-ACB3-9245-23CD77BC5C3E}"/>
                  </a:ext>
                </a:extLst>
              </p:cNvPr>
              <p:cNvSpPr txBox="1"/>
              <p:nvPr/>
            </p:nvSpPr>
            <p:spPr>
              <a:xfrm>
                <a:off x="2791627" y="1719459"/>
                <a:ext cx="509317" cy="215436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altLang="zh-CN" sz="8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1</a:t>
                </a:r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WS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4824BC03-C94B-8307-8438-D4976C26D4F7}"/>
                  </a:ext>
                </a:extLst>
              </p:cNvPr>
              <p:cNvSpPr txBox="1"/>
              <p:nvPr/>
            </p:nvSpPr>
            <p:spPr>
              <a:xfrm>
                <a:off x="3922918" y="1719451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altLang="zh-CN" sz="8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1.5</a:t>
                </a:r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WS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1A430B9F-FB71-DD2C-C630-98669F3B5E05}"/>
                  </a:ext>
                </a:extLst>
              </p:cNvPr>
              <p:cNvSpPr txBox="1"/>
              <p:nvPr/>
            </p:nvSpPr>
            <p:spPr>
              <a:xfrm>
                <a:off x="5090669" y="1719451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en-US" altLang="zh-CN" sz="8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2.5</a:t>
                </a:r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WS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1B71FD7E-E5C0-DEEC-5B3B-5B4944F037DC}"/>
                  </a:ext>
                </a:extLst>
              </p:cNvPr>
              <p:cNvSpPr txBox="1"/>
              <p:nvPr/>
            </p:nvSpPr>
            <p:spPr>
              <a:xfrm>
                <a:off x="6573221" y="1390704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POC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780A55A7-14BC-0200-C5EA-C560FA5F24F4}"/>
                  </a:ext>
                </a:extLst>
              </p:cNvPr>
              <p:cNvSpPr txBox="1"/>
              <p:nvPr/>
            </p:nvSpPr>
            <p:spPr>
              <a:xfrm>
                <a:off x="6556615" y="2039467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POC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pic>
            <p:nvPicPr>
              <p:cNvPr id="25" name="图片 24" descr="图片包含 徽标&#10;&#10;描述已自动生成">
                <a:extLst>
                  <a:ext uri="{FF2B5EF4-FFF2-40B4-BE49-F238E27FC236}">
                    <a16:creationId xmlns:a16="http://schemas.microsoft.com/office/drawing/2014/main" id="{CB00053C-57AC-94E2-61D0-BA3B141A6E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82374" y="2633056"/>
                <a:ext cx="360000" cy="325792"/>
              </a:xfrm>
              <a:prstGeom prst="rect">
                <a:avLst/>
              </a:prstGeom>
            </p:spPr>
          </p:pic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66E1C11C-6292-114A-446E-15A09C64EFA5}"/>
                  </a:ext>
                </a:extLst>
              </p:cNvPr>
              <p:cNvSpPr txBox="1"/>
              <p:nvPr/>
            </p:nvSpPr>
            <p:spPr>
              <a:xfrm>
                <a:off x="6573221" y="2688230"/>
                <a:ext cx="509317" cy="21544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en-US" altLang="zh-CN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POC</a:t>
                </a:r>
                <a:endParaRPr lang="zh-CN" altLang="en-US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27" name="直接箭头连接符 26">
                <a:extLst>
                  <a:ext uri="{FF2B5EF4-FFF2-40B4-BE49-F238E27FC236}">
                    <a16:creationId xmlns:a16="http://schemas.microsoft.com/office/drawing/2014/main" id="{033A5CD6-287B-5351-EA50-1DC2A27F5D16}"/>
                  </a:ext>
                </a:extLst>
              </p:cNvPr>
              <p:cNvCxnSpPr>
                <a:cxnSpLocks/>
                <a:stCxn id="15" idx="3"/>
                <a:endCxn id="25" idx="1"/>
              </p:cNvCxnSpPr>
              <p:nvPr/>
            </p:nvCxnSpPr>
            <p:spPr>
              <a:xfrm>
                <a:off x="4357577" y="2147189"/>
                <a:ext cx="1924797" cy="648763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3198CE07-75F4-BB15-20DE-1CEBF2D4806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09764" y="1920580"/>
                <a:ext cx="216000" cy="21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2E7B7623-CCEA-FC9D-D938-A579E790484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09764" y="2342733"/>
                <a:ext cx="216000" cy="21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31" name="Picture 3">
              <a:extLst>
                <a:ext uri="{FF2B5EF4-FFF2-40B4-BE49-F238E27FC236}">
                  <a16:creationId xmlns:a16="http://schemas.microsoft.com/office/drawing/2014/main" id="{34D484B1-1487-6B7A-7664-EE457AC6B6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4162" y="1737115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3">
              <a:extLst>
                <a:ext uri="{FF2B5EF4-FFF2-40B4-BE49-F238E27FC236}">
                  <a16:creationId xmlns:a16="http://schemas.microsoft.com/office/drawing/2014/main" id="{E5DE3B93-7C9F-E875-466D-997A2BD432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5402" y="2392555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3">
              <a:extLst>
                <a:ext uri="{FF2B5EF4-FFF2-40B4-BE49-F238E27FC236}">
                  <a16:creationId xmlns:a16="http://schemas.microsoft.com/office/drawing/2014/main" id="{267F9354-3EB0-17DA-0B1C-1666EAD799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1736" y="1738267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47596C62-CC2C-9E21-A0FF-EE29207479E4}"/>
              </a:ext>
            </a:extLst>
          </p:cNvPr>
          <p:cNvGrpSpPr/>
          <p:nvPr/>
        </p:nvGrpSpPr>
        <p:grpSpPr>
          <a:xfrm>
            <a:off x="3055819" y="539433"/>
            <a:ext cx="5938295" cy="1700805"/>
            <a:chOff x="947818" y="1237723"/>
            <a:chExt cx="5938295" cy="1700805"/>
          </a:xfrm>
        </p:grpSpPr>
        <p:pic>
          <p:nvPicPr>
            <p:cNvPr id="35" name="图片 34" descr="形状&#10;&#10;低可信度描述已自动生成">
              <a:extLst>
                <a:ext uri="{FF2B5EF4-FFF2-40B4-BE49-F238E27FC236}">
                  <a16:creationId xmlns:a16="http://schemas.microsoft.com/office/drawing/2014/main" id="{1BE45AD6-14EF-3E2F-AD64-C17968A136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4028" y="1946869"/>
              <a:ext cx="360000" cy="360000"/>
            </a:xfrm>
            <a:prstGeom prst="rect">
              <a:avLst/>
            </a:prstGeom>
          </p:spPr>
        </p:pic>
        <p:pic>
          <p:nvPicPr>
            <p:cNvPr id="36" name="图片 35">
              <a:extLst>
                <a:ext uri="{FF2B5EF4-FFF2-40B4-BE49-F238E27FC236}">
                  <a16:creationId xmlns:a16="http://schemas.microsoft.com/office/drawing/2014/main" id="{613595AC-DC8D-3D52-C351-ABE561ECF6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47818" y="1315210"/>
              <a:ext cx="951320" cy="324000"/>
            </a:xfrm>
            <a:prstGeom prst="rect">
              <a:avLst/>
            </a:prstGeom>
          </p:spPr>
        </p:pic>
        <p:pic>
          <p:nvPicPr>
            <p:cNvPr id="37" name="图片 36" descr="形状&#10;&#10;低可信度描述已自动生成">
              <a:extLst>
                <a:ext uri="{FF2B5EF4-FFF2-40B4-BE49-F238E27FC236}">
                  <a16:creationId xmlns:a16="http://schemas.microsoft.com/office/drawing/2014/main" id="{C6B7A901-2178-7B94-651F-634220252D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68479" y="1298106"/>
              <a:ext cx="360000" cy="360000"/>
            </a:xfrm>
            <a:prstGeom prst="rect">
              <a:avLst/>
            </a:prstGeom>
          </p:spPr>
        </p:pic>
        <p:pic>
          <p:nvPicPr>
            <p:cNvPr id="38" name="图片 37" descr="图片包含 徽标&#10;&#10;描述已自动生成">
              <a:extLst>
                <a:ext uri="{FF2B5EF4-FFF2-40B4-BE49-F238E27FC236}">
                  <a16:creationId xmlns:a16="http://schemas.microsoft.com/office/drawing/2014/main" id="{9CE5D37B-C809-A538-94BB-2E33FE43AE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85949" y="1315210"/>
              <a:ext cx="360000" cy="325792"/>
            </a:xfrm>
            <a:prstGeom prst="rect">
              <a:avLst/>
            </a:prstGeom>
          </p:spPr>
        </p:pic>
        <p:pic>
          <p:nvPicPr>
            <p:cNvPr id="39" name="图片 38" descr="图片包含 徽标&#10;&#10;描述已自动生成">
              <a:extLst>
                <a:ext uri="{FF2B5EF4-FFF2-40B4-BE49-F238E27FC236}">
                  <a16:creationId xmlns:a16="http://schemas.microsoft.com/office/drawing/2014/main" id="{348B04CE-349B-C266-0F69-40824D2CAFA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85949" y="1963973"/>
              <a:ext cx="360000" cy="325792"/>
            </a:xfrm>
            <a:prstGeom prst="rect">
              <a:avLst/>
            </a:prstGeom>
          </p:spPr>
        </p:pic>
        <p:cxnSp>
          <p:nvCxnSpPr>
            <p:cNvPr id="40" name="直接箭头连接符 39">
              <a:extLst>
                <a:ext uri="{FF2B5EF4-FFF2-40B4-BE49-F238E27FC236}">
                  <a16:creationId xmlns:a16="http://schemas.microsoft.com/office/drawing/2014/main" id="{D34D644D-CEBD-80F7-0A08-AE1A6AEE5C30}"/>
                </a:ext>
              </a:extLst>
            </p:cNvPr>
            <p:cNvCxnSpPr>
              <a:cxnSpLocks/>
              <a:stCxn id="36" idx="3"/>
              <a:endCxn id="44" idx="1"/>
            </p:cNvCxnSpPr>
            <p:nvPr/>
          </p:nvCxnSpPr>
          <p:spPr>
            <a:xfrm>
              <a:off x="1899138" y="1477210"/>
              <a:ext cx="791111" cy="897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箭头连接符 40">
              <a:extLst>
                <a:ext uri="{FF2B5EF4-FFF2-40B4-BE49-F238E27FC236}">
                  <a16:creationId xmlns:a16="http://schemas.microsoft.com/office/drawing/2014/main" id="{36B8E6EE-36E5-53B0-4C71-3CFB20A9DFD9}"/>
                </a:ext>
              </a:extLst>
            </p:cNvPr>
            <p:cNvCxnSpPr>
              <a:cxnSpLocks/>
              <a:stCxn id="37" idx="3"/>
              <a:endCxn id="38" idx="1"/>
            </p:cNvCxnSpPr>
            <p:nvPr/>
          </p:nvCxnSpPr>
          <p:spPr>
            <a:xfrm>
              <a:off x="4428479" y="1478106"/>
              <a:ext cx="1657470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箭头连接符 41">
              <a:extLst>
                <a:ext uri="{FF2B5EF4-FFF2-40B4-BE49-F238E27FC236}">
                  <a16:creationId xmlns:a16="http://schemas.microsoft.com/office/drawing/2014/main" id="{9FB1B8DC-09AD-9B61-2512-9F40879FD13D}"/>
                </a:ext>
              </a:extLst>
            </p:cNvPr>
            <p:cNvCxnSpPr>
              <a:cxnSpLocks/>
              <a:stCxn id="35" idx="3"/>
              <a:endCxn id="39" idx="1"/>
            </p:cNvCxnSpPr>
            <p:nvPr/>
          </p:nvCxnSpPr>
          <p:spPr>
            <a:xfrm>
              <a:off x="5334028" y="2126869"/>
              <a:ext cx="751921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箭头连接符 42">
              <a:extLst>
                <a:ext uri="{FF2B5EF4-FFF2-40B4-BE49-F238E27FC236}">
                  <a16:creationId xmlns:a16="http://schemas.microsoft.com/office/drawing/2014/main" id="{7F4DB0C3-7B9F-FE21-DB59-43AFF3CE58BD}"/>
                </a:ext>
              </a:extLst>
            </p:cNvPr>
            <p:cNvCxnSpPr>
              <a:cxnSpLocks/>
              <a:stCxn id="44" idx="3"/>
              <a:endCxn id="37" idx="1"/>
            </p:cNvCxnSpPr>
            <p:nvPr/>
          </p:nvCxnSpPr>
          <p:spPr>
            <a:xfrm flipV="1">
              <a:off x="3050249" y="1478106"/>
              <a:ext cx="1018230" cy="1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4" name="图片 43" descr="图标&#10;&#10;描述已自动生成">
              <a:extLst>
                <a:ext uri="{FF2B5EF4-FFF2-40B4-BE49-F238E27FC236}">
                  <a16:creationId xmlns:a16="http://schemas.microsoft.com/office/drawing/2014/main" id="{F9BB96F5-F7DA-F4FE-F03A-524F212B8A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90249" y="1320901"/>
              <a:ext cx="360000" cy="314411"/>
            </a:xfrm>
            <a:prstGeom prst="rect">
              <a:avLst/>
            </a:prstGeom>
          </p:spPr>
        </p:pic>
        <p:sp>
          <p:nvSpPr>
            <p:cNvPr id="45" name="矩形: 圆角 44">
              <a:extLst>
                <a:ext uri="{FF2B5EF4-FFF2-40B4-BE49-F238E27FC236}">
                  <a16:creationId xmlns:a16="http://schemas.microsoft.com/office/drawing/2014/main" id="{6C7B2874-1B70-D4C8-38C5-ED855B70D9D6}"/>
                </a:ext>
              </a:extLst>
            </p:cNvPr>
            <p:cNvSpPr/>
            <p:nvPr/>
          </p:nvSpPr>
          <p:spPr>
            <a:xfrm>
              <a:off x="2574880" y="1237723"/>
              <a:ext cx="509316" cy="468000"/>
            </a:xfrm>
            <a:prstGeom prst="roundRect">
              <a:avLst/>
            </a:prstGeom>
            <a:noFill/>
            <a:ln>
              <a:solidFill>
                <a:srgbClr val="FFC000"/>
              </a:solidFill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75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C2083A3D-7FD6-D3B3-372B-1D4E42C6E2E1}"/>
                </a:ext>
              </a:extLst>
            </p:cNvPr>
            <p:cNvSpPr txBox="1"/>
            <p:nvPr/>
          </p:nvSpPr>
          <p:spPr>
            <a:xfrm>
              <a:off x="2574880" y="1699139"/>
              <a:ext cx="509317" cy="21543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altLang="zh-CN" sz="800" dirty="0">
                  <a:latin typeface="Calibri" panose="020F0502020204030204" pitchFamily="34" charset="0"/>
                  <a:cs typeface="Calibri" panose="020F0502020204030204" pitchFamily="34" charset="0"/>
                </a:rPr>
                <a:t>T</a:t>
              </a:r>
              <a:r>
                <a:rPr lang="en-US" altLang="zh-CN" sz="800" b="1" dirty="0"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r>
                <a:rPr lang="en-US" altLang="zh-CN" sz="800" dirty="0">
                  <a:latin typeface="Calibri" panose="020F0502020204030204" pitchFamily="34" charset="0"/>
                  <a:cs typeface="Calibri" panose="020F0502020204030204" pitchFamily="34" charset="0"/>
                </a:rPr>
                <a:t> WS</a:t>
              </a:r>
              <a:endParaRPr lang="zh-CN" alt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文本框 46">
              <a:extLst>
                <a:ext uri="{FF2B5EF4-FFF2-40B4-BE49-F238E27FC236}">
                  <a16:creationId xmlns:a16="http://schemas.microsoft.com/office/drawing/2014/main" id="{8502024F-9F10-6F0A-B0D1-383FABAA4DFF}"/>
                </a:ext>
              </a:extLst>
            </p:cNvPr>
            <p:cNvSpPr txBox="1"/>
            <p:nvPr/>
          </p:nvSpPr>
          <p:spPr>
            <a:xfrm>
              <a:off x="3993821" y="1700532"/>
              <a:ext cx="509317" cy="21544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altLang="zh-CN" sz="800" dirty="0">
                  <a:latin typeface="Calibri" panose="020F0502020204030204" pitchFamily="34" charset="0"/>
                  <a:cs typeface="Calibri" panose="020F0502020204030204" pitchFamily="34" charset="0"/>
                </a:rPr>
                <a:t>T</a:t>
              </a:r>
              <a:r>
                <a:rPr lang="en-US" altLang="zh-CN" sz="800" b="1" dirty="0">
                  <a:latin typeface="Calibri" panose="020F0502020204030204" pitchFamily="34" charset="0"/>
                  <a:cs typeface="Calibri" panose="020F0502020204030204" pitchFamily="34" charset="0"/>
                </a:rPr>
                <a:t>1.5</a:t>
              </a:r>
              <a:r>
                <a:rPr lang="en-US" altLang="zh-CN" sz="800" dirty="0">
                  <a:latin typeface="Calibri" panose="020F0502020204030204" pitchFamily="34" charset="0"/>
                  <a:cs typeface="Calibri" panose="020F0502020204030204" pitchFamily="34" charset="0"/>
                </a:rPr>
                <a:t> WS</a:t>
              </a:r>
              <a:endParaRPr lang="zh-CN" alt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文本框 47">
              <a:extLst>
                <a:ext uri="{FF2B5EF4-FFF2-40B4-BE49-F238E27FC236}">
                  <a16:creationId xmlns:a16="http://schemas.microsoft.com/office/drawing/2014/main" id="{5B5C1509-8649-2E95-92C3-2DF4C1102594}"/>
                </a:ext>
              </a:extLst>
            </p:cNvPr>
            <p:cNvSpPr txBox="1"/>
            <p:nvPr/>
          </p:nvSpPr>
          <p:spPr>
            <a:xfrm>
              <a:off x="4899369" y="2292165"/>
              <a:ext cx="509317" cy="21544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altLang="zh-CN" sz="800" dirty="0">
                  <a:latin typeface="Calibri" panose="020F0502020204030204" pitchFamily="34" charset="0"/>
                  <a:cs typeface="Calibri" panose="020F0502020204030204" pitchFamily="34" charset="0"/>
                </a:rPr>
                <a:t>T</a:t>
              </a:r>
              <a:r>
                <a:rPr lang="en-US" altLang="zh-CN" sz="800" b="1" dirty="0"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r>
                <a:rPr lang="en-US" altLang="zh-CN" sz="800" dirty="0">
                  <a:latin typeface="Calibri" panose="020F0502020204030204" pitchFamily="34" charset="0"/>
                  <a:cs typeface="Calibri" panose="020F0502020204030204" pitchFamily="34" charset="0"/>
                </a:rPr>
                <a:t> WS</a:t>
              </a:r>
              <a:endParaRPr lang="zh-CN" alt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文本框 48">
              <a:extLst>
                <a:ext uri="{FF2B5EF4-FFF2-40B4-BE49-F238E27FC236}">
                  <a16:creationId xmlns:a16="http://schemas.microsoft.com/office/drawing/2014/main" id="{9CEF2B67-6644-5D98-11F4-76D417927DA5}"/>
                </a:ext>
              </a:extLst>
            </p:cNvPr>
            <p:cNvSpPr txBox="1"/>
            <p:nvPr/>
          </p:nvSpPr>
          <p:spPr>
            <a:xfrm>
              <a:off x="6376796" y="1370384"/>
              <a:ext cx="509317" cy="21544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altLang="zh-CN" sz="800" dirty="0">
                  <a:latin typeface="Calibri" panose="020F0502020204030204" pitchFamily="34" charset="0"/>
                  <a:cs typeface="Calibri" panose="020F0502020204030204" pitchFamily="34" charset="0"/>
                </a:rPr>
                <a:t>POC</a:t>
              </a:r>
              <a:endParaRPr lang="zh-CN" alt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文本框 49">
              <a:extLst>
                <a:ext uri="{FF2B5EF4-FFF2-40B4-BE49-F238E27FC236}">
                  <a16:creationId xmlns:a16="http://schemas.microsoft.com/office/drawing/2014/main" id="{7E09CF98-DA3F-F15D-DC53-B0DD1D8D31B8}"/>
                </a:ext>
              </a:extLst>
            </p:cNvPr>
            <p:cNvSpPr txBox="1"/>
            <p:nvPr/>
          </p:nvSpPr>
          <p:spPr>
            <a:xfrm>
              <a:off x="6360190" y="2019147"/>
              <a:ext cx="509317" cy="21544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altLang="zh-CN" sz="800" dirty="0">
                  <a:latin typeface="Calibri" panose="020F0502020204030204" pitchFamily="34" charset="0"/>
                  <a:cs typeface="Calibri" panose="020F0502020204030204" pitchFamily="34" charset="0"/>
                </a:rPr>
                <a:t>POC</a:t>
              </a:r>
              <a:endParaRPr lang="zh-CN" alt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51" name="图片 50" descr="图片包含 徽标&#10;&#10;描述已自动生成">
              <a:extLst>
                <a:ext uri="{FF2B5EF4-FFF2-40B4-BE49-F238E27FC236}">
                  <a16:creationId xmlns:a16="http://schemas.microsoft.com/office/drawing/2014/main" id="{14E21459-41D0-6B37-7151-8182D2F8F4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85949" y="2612736"/>
              <a:ext cx="360000" cy="325792"/>
            </a:xfrm>
            <a:prstGeom prst="rect">
              <a:avLst/>
            </a:prstGeom>
          </p:spPr>
        </p:pic>
        <p:sp>
          <p:nvSpPr>
            <p:cNvPr id="52" name="文本框 51">
              <a:extLst>
                <a:ext uri="{FF2B5EF4-FFF2-40B4-BE49-F238E27FC236}">
                  <a16:creationId xmlns:a16="http://schemas.microsoft.com/office/drawing/2014/main" id="{8FFBB2CB-19C2-14D6-CF63-4DD0BBDCF521}"/>
                </a:ext>
              </a:extLst>
            </p:cNvPr>
            <p:cNvSpPr txBox="1"/>
            <p:nvPr/>
          </p:nvSpPr>
          <p:spPr>
            <a:xfrm>
              <a:off x="6376796" y="2667910"/>
              <a:ext cx="509317" cy="21544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altLang="zh-CN" sz="800" dirty="0">
                  <a:latin typeface="Calibri" panose="020F0502020204030204" pitchFamily="34" charset="0"/>
                  <a:cs typeface="Calibri" panose="020F0502020204030204" pitchFamily="34" charset="0"/>
                </a:rPr>
                <a:t>POC</a:t>
              </a:r>
              <a:endParaRPr lang="zh-CN" altLang="en-US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53" name="连接符: 肘形 52">
              <a:extLst>
                <a:ext uri="{FF2B5EF4-FFF2-40B4-BE49-F238E27FC236}">
                  <a16:creationId xmlns:a16="http://schemas.microsoft.com/office/drawing/2014/main" id="{E0F64D81-78C7-3B88-EDAC-78695BA90550}"/>
                </a:ext>
              </a:extLst>
            </p:cNvPr>
            <p:cNvCxnSpPr>
              <a:cxnSpLocks/>
              <a:stCxn id="46" idx="2"/>
              <a:endCxn id="35" idx="1"/>
            </p:cNvCxnSpPr>
            <p:nvPr/>
          </p:nvCxnSpPr>
          <p:spPr>
            <a:xfrm rot="16200000" flipH="1">
              <a:off x="3795636" y="948477"/>
              <a:ext cx="212294" cy="2144489"/>
            </a:xfrm>
            <a:prstGeom prst="bentConnector2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连接符: 肘形 53">
              <a:extLst>
                <a:ext uri="{FF2B5EF4-FFF2-40B4-BE49-F238E27FC236}">
                  <a16:creationId xmlns:a16="http://schemas.microsoft.com/office/drawing/2014/main" id="{1E4084EA-7204-9B52-D43C-869FEC185556}"/>
                </a:ext>
              </a:extLst>
            </p:cNvPr>
            <p:cNvCxnSpPr>
              <a:cxnSpLocks/>
              <a:stCxn id="46" idx="2"/>
              <a:endCxn id="51" idx="1"/>
            </p:cNvCxnSpPr>
            <p:nvPr/>
          </p:nvCxnSpPr>
          <p:spPr>
            <a:xfrm rot="16200000" flipH="1">
              <a:off x="4027216" y="716898"/>
              <a:ext cx="861057" cy="3256410"/>
            </a:xfrm>
            <a:prstGeom prst="bentConnector2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6" name="Picture 3">
              <a:extLst>
                <a:ext uri="{FF2B5EF4-FFF2-40B4-BE49-F238E27FC236}">
                  <a16:creationId xmlns:a16="http://schemas.microsoft.com/office/drawing/2014/main" id="{C61178FB-D648-3BD2-4731-0AC2AE06D8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4814" y="2547356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3">
              <a:extLst>
                <a:ext uri="{FF2B5EF4-FFF2-40B4-BE49-F238E27FC236}">
                  <a16:creationId xmlns:a16="http://schemas.microsoft.com/office/drawing/2014/main" id="{AE6765A1-5172-DF2A-F6A0-D8CD21390C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8178" y="1899178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3">
              <a:extLst>
                <a:ext uri="{FF2B5EF4-FFF2-40B4-BE49-F238E27FC236}">
                  <a16:creationId xmlns:a16="http://schemas.microsoft.com/office/drawing/2014/main" id="{853E1F17-6480-260B-4322-6D66098CF2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4814" y="1244107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0" name="标题 1">
            <a:extLst>
              <a:ext uri="{FF2B5EF4-FFF2-40B4-BE49-F238E27FC236}">
                <a16:creationId xmlns:a16="http://schemas.microsoft.com/office/drawing/2014/main" id="{46123FC2-E5BF-C5D9-D5FA-9E4034E27C11}"/>
              </a:ext>
            </a:extLst>
          </p:cNvPr>
          <p:cNvSpPr txBox="1">
            <a:spLocks/>
          </p:cNvSpPr>
          <p:nvPr/>
        </p:nvSpPr>
        <p:spPr>
          <a:xfrm>
            <a:off x="1584908" y="1377011"/>
            <a:ext cx="1270000" cy="315471"/>
          </a:xfrm>
          <a:prstGeom prst="rect">
            <a:avLst/>
          </a:prstGeom>
          <a:ln w="12700">
            <a:miter lim="400000"/>
          </a:ln>
        </p:spPr>
        <p:txBody>
          <a:bodyPr vert="horz" wrap="square" lIns="19050" tIns="19050" rIns="19050" bIns="19050" rtlCol="0" anchor="ctr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Arial"/>
                <a:ea typeface="Arial"/>
                <a:cs typeface="Arial"/>
                <a:sym typeface="Helvetica Neue"/>
              </a:defRPr>
            </a:lvl1pPr>
          </a:lstStyle>
          <a:p>
            <a:r>
              <a:rPr lang="en-US" altLang="zh-CN" sz="2000" dirty="0"/>
              <a:t>As a T1</a:t>
            </a:r>
            <a:endParaRPr lang="zh-CN" altLang="en-US" sz="2000" dirty="0"/>
          </a:p>
        </p:txBody>
      </p:sp>
      <p:sp>
        <p:nvSpPr>
          <p:cNvPr id="61" name="标题 1">
            <a:extLst>
              <a:ext uri="{FF2B5EF4-FFF2-40B4-BE49-F238E27FC236}">
                <a16:creationId xmlns:a16="http://schemas.microsoft.com/office/drawing/2014/main" id="{26A65622-B348-4E76-582F-CBFA02119BF0}"/>
              </a:ext>
            </a:extLst>
          </p:cNvPr>
          <p:cNvSpPr txBox="1">
            <a:spLocks/>
          </p:cNvSpPr>
          <p:nvPr/>
        </p:nvSpPr>
        <p:spPr>
          <a:xfrm>
            <a:off x="1584908" y="3298089"/>
            <a:ext cx="1270000" cy="315471"/>
          </a:xfrm>
          <a:prstGeom prst="rect">
            <a:avLst/>
          </a:prstGeom>
          <a:ln w="12700">
            <a:miter lim="400000"/>
          </a:ln>
        </p:spPr>
        <p:txBody>
          <a:bodyPr vert="horz" wrap="square" lIns="19050" tIns="19050" rIns="19050" bIns="19050" rtlCol="0" anchor="ctr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Arial"/>
                <a:ea typeface="Arial"/>
                <a:cs typeface="Arial"/>
                <a:sym typeface="Helvetica Neue"/>
              </a:defRPr>
            </a:lvl1pPr>
          </a:lstStyle>
          <a:p>
            <a:r>
              <a:rPr lang="en-US" altLang="zh-CN" sz="2000" dirty="0"/>
              <a:t>As a T1.5</a:t>
            </a:r>
            <a:endParaRPr lang="zh-CN" altLang="en-US" sz="2000" dirty="0"/>
          </a:p>
        </p:txBody>
      </p:sp>
      <p:sp>
        <p:nvSpPr>
          <p:cNvPr id="62" name="标题 1">
            <a:extLst>
              <a:ext uri="{FF2B5EF4-FFF2-40B4-BE49-F238E27FC236}">
                <a16:creationId xmlns:a16="http://schemas.microsoft.com/office/drawing/2014/main" id="{BE7E1C85-9B88-8029-9A46-19C330267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251" y="2221473"/>
            <a:ext cx="1270000" cy="426271"/>
          </a:xfrm>
        </p:spPr>
        <p:txBody>
          <a:bodyPr/>
          <a:lstStyle/>
          <a:p>
            <a:r>
              <a:rPr lang="zh-CN" altLang="en-US" dirty="0"/>
              <a:t>方式二</a:t>
            </a:r>
          </a:p>
        </p:txBody>
      </p:sp>
      <p:sp>
        <p:nvSpPr>
          <p:cNvPr id="63" name="矩形: 圆角 62">
            <a:extLst>
              <a:ext uri="{FF2B5EF4-FFF2-40B4-BE49-F238E27FC236}">
                <a16:creationId xmlns:a16="http://schemas.microsoft.com/office/drawing/2014/main" id="{1036D96F-0B57-6359-18E8-6B7BB268E43C}"/>
              </a:ext>
            </a:extLst>
          </p:cNvPr>
          <p:cNvSpPr/>
          <p:nvPr/>
        </p:nvSpPr>
        <p:spPr>
          <a:xfrm>
            <a:off x="4090316" y="479565"/>
            <a:ext cx="509316" cy="1650997"/>
          </a:xfrm>
          <a:prstGeom prst="roundRect">
            <a:avLst/>
          </a:prstGeom>
          <a:noFill/>
          <a:ln>
            <a:solidFill>
              <a:srgbClr val="D00A2E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7081E02C-CB0C-B62B-641C-59313D599097}"/>
              </a:ext>
            </a:extLst>
          </p:cNvPr>
          <p:cNvSpPr txBox="1"/>
          <p:nvPr/>
        </p:nvSpPr>
        <p:spPr>
          <a:xfrm>
            <a:off x="4091957" y="2154826"/>
            <a:ext cx="5169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100" b="1" dirty="0">
                <a:latin typeface="Calibri" panose="020F0502020204030204" pitchFamily="34" charset="0"/>
                <a:cs typeface="Calibri" panose="020F0502020204030204" pitchFamily="34" charset="0"/>
              </a:rPr>
              <a:t>STW</a:t>
            </a:r>
            <a:endParaRPr kumimoji="1" lang="en-US" altLang="zh-CN"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矩形: 圆角 64">
            <a:extLst>
              <a:ext uri="{FF2B5EF4-FFF2-40B4-BE49-F238E27FC236}">
                <a16:creationId xmlns:a16="http://schemas.microsoft.com/office/drawing/2014/main" id="{4C37A9E9-A17B-A8F4-39A9-432404663DDF}"/>
              </a:ext>
            </a:extLst>
          </p:cNvPr>
          <p:cNvSpPr/>
          <p:nvPr/>
        </p:nvSpPr>
        <p:spPr>
          <a:xfrm>
            <a:off x="4935198" y="2953071"/>
            <a:ext cx="509316" cy="1485580"/>
          </a:xfrm>
          <a:prstGeom prst="roundRect">
            <a:avLst/>
          </a:prstGeom>
          <a:noFill/>
          <a:ln>
            <a:solidFill>
              <a:srgbClr val="D00A2E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03DB2B33-D8D1-BF99-A71C-0BCC7B53E79F}"/>
              </a:ext>
            </a:extLst>
          </p:cNvPr>
          <p:cNvSpPr txBox="1"/>
          <p:nvPr/>
        </p:nvSpPr>
        <p:spPr>
          <a:xfrm>
            <a:off x="4952460" y="4487846"/>
            <a:ext cx="5169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100" b="1" dirty="0">
                <a:latin typeface="Calibri" panose="020F0502020204030204" pitchFamily="34" charset="0"/>
                <a:cs typeface="Calibri" panose="020F0502020204030204" pitchFamily="34" charset="0"/>
              </a:rPr>
              <a:t>STW</a:t>
            </a:r>
            <a:endParaRPr kumimoji="1" lang="en-US" altLang="zh-CN"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7" name="Picture 3">
            <a:extLst>
              <a:ext uri="{FF2B5EF4-FFF2-40B4-BE49-F238E27FC236}">
                <a16:creationId xmlns:a16="http://schemas.microsoft.com/office/drawing/2014/main" id="{21EB0B62-2D70-1724-AFA0-6BA54E7760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0086" y="545817"/>
            <a:ext cx="216000" cy="2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矩形: 圆角 67">
            <a:extLst>
              <a:ext uri="{FF2B5EF4-FFF2-40B4-BE49-F238E27FC236}">
                <a16:creationId xmlns:a16="http://schemas.microsoft.com/office/drawing/2014/main" id="{397A2DE3-367B-AC46-0B53-78ABA7852D53}"/>
              </a:ext>
            </a:extLst>
          </p:cNvPr>
          <p:cNvSpPr/>
          <p:nvPr/>
        </p:nvSpPr>
        <p:spPr>
          <a:xfrm>
            <a:off x="5392924" y="479565"/>
            <a:ext cx="509316" cy="1650997"/>
          </a:xfrm>
          <a:prstGeom prst="roundRect">
            <a:avLst/>
          </a:prstGeom>
          <a:noFill/>
          <a:ln>
            <a:solidFill>
              <a:srgbClr val="D00A2E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EF409875-46D8-6574-080D-F4208E5E0D5C}"/>
              </a:ext>
            </a:extLst>
          </p:cNvPr>
          <p:cNvSpPr txBox="1"/>
          <p:nvPr/>
        </p:nvSpPr>
        <p:spPr>
          <a:xfrm>
            <a:off x="5389103" y="2154826"/>
            <a:ext cx="5169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100" b="1" dirty="0">
                <a:latin typeface="Calibri" panose="020F0502020204030204" pitchFamily="34" charset="0"/>
                <a:cs typeface="Calibri" panose="020F0502020204030204" pitchFamily="34" charset="0"/>
              </a:rPr>
              <a:t>STR</a:t>
            </a:r>
            <a:endParaRPr kumimoji="1" lang="en-US" altLang="zh-CN"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0" name="矩形: 圆角 69">
            <a:extLst>
              <a:ext uri="{FF2B5EF4-FFF2-40B4-BE49-F238E27FC236}">
                <a16:creationId xmlns:a16="http://schemas.microsoft.com/office/drawing/2014/main" id="{B4A8B1A9-C446-FBB9-7BC8-7FDC5921A8DA}"/>
              </a:ext>
            </a:extLst>
          </p:cNvPr>
          <p:cNvSpPr/>
          <p:nvPr/>
        </p:nvSpPr>
        <p:spPr>
          <a:xfrm>
            <a:off x="6186905" y="2953388"/>
            <a:ext cx="509316" cy="1485264"/>
          </a:xfrm>
          <a:prstGeom prst="roundRect">
            <a:avLst/>
          </a:prstGeom>
          <a:noFill/>
          <a:ln>
            <a:solidFill>
              <a:srgbClr val="D00A2E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5EF60F11-5D03-5216-D564-151BE8652869}"/>
              </a:ext>
            </a:extLst>
          </p:cNvPr>
          <p:cNvSpPr txBox="1"/>
          <p:nvPr/>
        </p:nvSpPr>
        <p:spPr>
          <a:xfrm>
            <a:off x="6176480" y="4487846"/>
            <a:ext cx="5169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100" b="1" dirty="0">
                <a:latin typeface="Calibri" panose="020F0502020204030204" pitchFamily="34" charset="0"/>
                <a:cs typeface="Calibri" panose="020F0502020204030204" pitchFamily="34" charset="0"/>
              </a:rPr>
              <a:t>STR</a:t>
            </a:r>
            <a:endParaRPr kumimoji="1" lang="en-US" altLang="zh-CN"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92038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283E51B-162C-2533-A994-14052591E6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49EE1FA-814C-4BDC-9591-31839B5CF716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59FD385B-598F-5FC5-A442-2B2B3A88FDF5}"/>
              </a:ext>
            </a:extLst>
          </p:cNvPr>
          <p:cNvSpPr txBox="1"/>
          <p:nvPr/>
        </p:nvSpPr>
        <p:spPr>
          <a:xfrm>
            <a:off x="178285" y="177328"/>
            <a:ext cx="79844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rgbClr val="C00000"/>
                </a:solidFill>
              </a:rPr>
              <a:t>If this wholesaler is a T1 wholesaler</a:t>
            </a:r>
            <a:r>
              <a:rPr lang="en-US" altLang="zh-CN" sz="1600" b="1" dirty="0">
                <a:solidFill>
                  <a:srgbClr val="C00000"/>
                </a:solidFill>
              </a:rPr>
              <a:t> , the STR we need is</a:t>
            </a:r>
            <a:r>
              <a:rPr lang="en-US" sz="1600" b="1" dirty="0">
                <a:solidFill>
                  <a:srgbClr val="C00000"/>
                </a:solidFill>
              </a:rPr>
              <a:t>…</a:t>
            </a:r>
            <a:endParaRPr lang="zh-CN" altLang="en-US" sz="1600" b="1" dirty="0">
              <a:solidFill>
                <a:srgbClr val="C00000"/>
              </a:solidFill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A212F74-09F6-979B-BB06-B2526A745AB8}"/>
              </a:ext>
            </a:extLst>
          </p:cNvPr>
          <p:cNvSpPr txBox="1"/>
          <p:nvPr/>
        </p:nvSpPr>
        <p:spPr>
          <a:xfrm>
            <a:off x="5257192" y="1895040"/>
            <a:ext cx="355484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i="1" dirty="0">
                <a:latin typeface="Calibri" panose="020F0502020204030204" pitchFamily="34" charset="0"/>
                <a:cs typeface="Calibri" panose="020F0502020204030204" pitchFamily="34" charset="0"/>
              </a:rPr>
              <a:t>For a T1 WS, STR Calculated:</a:t>
            </a:r>
          </a:p>
          <a:p>
            <a:r>
              <a:rPr lang="en-US" altLang="zh-CN" sz="1100" i="1" dirty="0">
                <a:latin typeface="Calibri" panose="020F0502020204030204" pitchFamily="34" charset="0"/>
                <a:cs typeface="Calibri" panose="020F0502020204030204" pitchFamily="34" charset="0"/>
              </a:rPr>
              <a:t>= </a:t>
            </a:r>
            <a:r>
              <a:rPr lang="en-US" altLang="zh-CN" sz="1100" i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1.5</a:t>
            </a:r>
            <a:r>
              <a:rPr lang="en-US" altLang="zh-CN" sz="1100" i="1" dirty="0">
                <a:latin typeface="Calibri" panose="020F0502020204030204" pitchFamily="34" charset="0"/>
                <a:cs typeface="Calibri" panose="020F0502020204030204" pitchFamily="34" charset="0"/>
              </a:rPr>
              <a:t> send to POCs + T1 send to T2 + T1 send to POC</a:t>
            </a:r>
            <a:endParaRPr lang="zh-CN" altLang="en-US" sz="11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6B97E61-481A-C3D5-B827-D2462CED6D20}"/>
              </a:ext>
            </a:extLst>
          </p:cNvPr>
          <p:cNvSpPr txBox="1"/>
          <p:nvPr/>
        </p:nvSpPr>
        <p:spPr>
          <a:xfrm>
            <a:off x="178285" y="3621100"/>
            <a:ext cx="474429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100" b="1" dirty="0">
                <a:latin typeface="Calibri" panose="020F0502020204030204" pitchFamily="34" charset="0"/>
                <a:cs typeface="Calibri" panose="020F0502020204030204" pitchFamily="34" charset="0"/>
              </a:rPr>
              <a:t>For a T1 wholesaler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altLang="zh-CN" sz="11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rPr>
              <a:t>Could only get beer from AB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100" dirty="0">
                <a:latin typeface="Calibri" panose="020F0502020204030204" pitchFamily="34" charset="0"/>
                <a:cs typeface="Calibri" panose="020F0502020204030204" pitchFamily="34" charset="0"/>
              </a:rPr>
              <a:t>Could send beer to a T1.5 wholesaler, to a T2 wholesaler, or directly to POCs</a:t>
            </a:r>
          </a:p>
        </p:txBody>
      </p: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6B6785D9-7B82-4CF6-05FA-A8BF46275B4B}"/>
              </a:ext>
            </a:extLst>
          </p:cNvPr>
          <p:cNvGrpSpPr/>
          <p:nvPr/>
        </p:nvGrpSpPr>
        <p:grpSpPr>
          <a:xfrm>
            <a:off x="230446" y="1697315"/>
            <a:ext cx="4459549" cy="1647753"/>
            <a:chOff x="230446" y="1895786"/>
            <a:chExt cx="4459549" cy="1647753"/>
          </a:xfrm>
        </p:grpSpPr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499E1712-6480-4DE4-9DBB-A4AB52DD295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30446" y="2266266"/>
              <a:ext cx="4459549" cy="1277273"/>
              <a:chOff x="256257" y="1910035"/>
              <a:chExt cx="5938295" cy="1700805"/>
            </a:xfrm>
          </p:grpSpPr>
          <p:grpSp>
            <p:nvGrpSpPr>
              <p:cNvPr id="2" name="组合 1">
                <a:extLst>
                  <a:ext uri="{FF2B5EF4-FFF2-40B4-BE49-F238E27FC236}">
                    <a16:creationId xmlns:a16="http://schemas.microsoft.com/office/drawing/2014/main" id="{D8C3DA26-4309-9EDB-483D-B7258820B282}"/>
                  </a:ext>
                </a:extLst>
              </p:cNvPr>
              <p:cNvGrpSpPr/>
              <p:nvPr/>
            </p:nvGrpSpPr>
            <p:grpSpPr>
              <a:xfrm>
                <a:off x="256257" y="1910035"/>
                <a:ext cx="5938295" cy="1700805"/>
                <a:chOff x="947818" y="1237723"/>
                <a:chExt cx="5938295" cy="1700805"/>
              </a:xfrm>
            </p:grpSpPr>
            <p:pic>
              <p:nvPicPr>
                <p:cNvPr id="9" name="图片 8" descr="形状&#10;&#10;低可信度描述已自动生成">
                  <a:extLst>
                    <a:ext uri="{FF2B5EF4-FFF2-40B4-BE49-F238E27FC236}">
                      <a16:creationId xmlns:a16="http://schemas.microsoft.com/office/drawing/2014/main" id="{96806093-10FA-DA33-9E4E-DB0C0C300C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74028" y="1946869"/>
                  <a:ext cx="360000" cy="360000"/>
                </a:xfrm>
                <a:prstGeom prst="rect">
                  <a:avLst/>
                </a:prstGeom>
              </p:spPr>
            </p:pic>
            <p:pic>
              <p:nvPicPr>
                <p:cNvPr id="12" name="图片 11">
                  <a:extLst>
                    <a:ext uri="{FF2B5EF4-FFF2-40B4-BE49-F238E27FC236}">
                      <a16:creationId xmlns:a16="http://schemas.microsoft.com/office/drawing/2014/main" id="{11CBA036-DE14-78E6-B34F-ED028D11AED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947818" y="1315210"/>
                  <a:ext cx="951320" cy="324000"/>
                </a:xfrm>
                <a:prstGeom prst="rect">
                  <a:avLst/>
                </a:prstGeom>
              </p:spPr>
            </p:pic>
            <p:pic>
              <p:nvPicPr>
                <p:cNvPr id="13" name="图片 12" descr="形状&#10;&#10;低可信度描述已自动生成">
                  <a:extLst>
                    <a:ext uri="{FF2B5EF4-FFF2-40B4-BE49-F238E27FC236}">
                      <a16:creationId xmlns:a16="http://schemas.microsoft.com/office/drawing/2014/main" id="{64775965-D505-1ECD-C01A-0333E69729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068479" y="1298106"/>
                  <a:ext cx="360000" cy="360000"/>
                </a:xfrm>
                <a:prstGeom prst="rect">
                  <a:avLst/>
                </a:prstGeom>
              </p:spPr>
            </p:pic>
            <p:pic>
              <p:nvPicPr>
                <p:cNvPr id="14" name="图片 13" descr="图片包含 徽标&#10;&#10;描述已自动生成">
                  <a:extLst>
                    <a:ext uri="{FF2B5EF4-FFF2-40B4-BE49-F238E27FC236}">
                      <a16:creationId xmlns:a16="http://schemas.microsoft.com/office/drawing/2014/main" id="{B3E3D8F7-C1AC-5787-FD38-A28ED5E7BE2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85949" y="1315210"/>
                  <a:ext cx="360000" cy="325792"/>
                </a:xfrm>
                <a:prstGeom prst="rect">
                  <a:avLst/>
                </a:prstGeom>
              </p:spPr>
            </p:pic>
            <p:pic>
              <p:nvPicPr>
                <p:cNvPr id="16" name="图片 15" descr="图片包含 徽标&#10;&#10;描述已自动生成">
                  <a:extLst>
                    <a:ext uri="{FF2B5EF4-FFF2-40B4-BE49-F238E27FC236}">
                      <a16:creationId xmlns:a16="http://schemas.microsoft.com/office/drawing/2014/main" id="{ECF5B72E-9AE4-720D-4BAE-4A17DFC617E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85949" y="1963973"/>
                  <a:ext cx="360000" cy="325792"/>
                </a:xfrm>
                <a:prstGeom prst="rect">
                  <a:avLst/>
                </a:prstGeom>
              </p:spPr>
            </p:pic>
            <p:cxnSp>
              <p:nvCxnSpPr>
                <p:cNvPr id="20" name="直接箭头连接符 19">
                  <a:extLst>
                    <a:ext uri="{FF2B5EF4-FFF2-40B4-BE49-F238E27FC236}">
                      <a16:creationId xmlns:a16="http://schemas.microsoft.com/office/drawing/2014/main" id="{AC2D3152-4152-8F1F-685C-F743F313A19C}"/>
                    </a:ext>
                  </a:extLst>
                </p:cNvPr>
                <p:cNvCxnSpPr>
                  <a:cxnSpLocks/>
                  <a:stCxn id="12" idx="3"/>
                  <a:endCxn id="61" idx="1"/>
                </p:cNvCxnSpPr>
                <p:nvPr/>
              </p:nvCxnSpPr>
              <p:spPr>
                <a:xfrm>
                  <a:off x="1899138" y="1477210"/>
                  <a:ext cx="791111" cy="897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箭头连接符 27">
                  <a:extLst>
                    <a:ext uri="{FF2B5EF4-FFF2-40B4-BE49-F238E27FC236}">
                      <a16:creationId xmlns:a16="http://schemas.microsoft.com/office/drawing/2014/main" id="{0967E347-2CE0-137F-7192-56AEDCFDF814}"/>
                    </a:ext>
                  </a:extLst>
                </p:cNvPr>
                <p:cNvCxnSpPr>
                  <a:cxnSpLocks/>
                  <a:stCxn id="13" idx="3"/>
                  <a:endCxn id="14" idx="1"/>
                </p:cNvCxnSpPr>
                <p:nvPr/>
              </p:nvCxnSpPr>
              <p:spPr>
                <a:xfrm>
                  <a:off x="4428479" y="1478106"/>
                  <a:ext cx="1657470" cy="0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箭头连接符 32">
                  <a:extLst>
                    <a:ext uri="{FF2B5EF4-FFF2-40B4-BE49-F238E27FC236}">
                      <a16:creationId xmlns:a16="http://schemas.microsoft.com/office/drawing/2014/main" id="{BCC77066-16CF-3C65-ECAD-72D5F15BA51F}"/>
                    </a:ext>
                  </a:extLst>
                </p:cNvPr>
                <p:cNvCxnSpPr>
                  <a:cxnSpLocks/>
                  <a:stCxn id="9" idx="3"/>
                  <a:endCxn id="16" idx="1"/>
                </p:cNvCxnSpPr>
                <p:nvPr/>
              </p:nvCxnSpPr>
              <p:spPr>
                <a:xfrm>
                  <a:off x="5334028" y="2126869"/>
                  <a:ext cx="751921" cy="0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直接箭头连接符 56">
                  <a:extLst>
                    <a:ext uri="{FF2B5EF4-FFF2-40B4-BE49-F238E27FC236}">
                      <a16:creationId xmlns:a16="http://schemas.microsoft.com/office/drawing/2014/main" id="{95B990C1-0758-8EAE-1867-4D285E368E21}"/>
                    </a:ext>
                  </a:extLst>
                </p:cNvPr>
                <p:cNvCxnSpPr>
                  <a:cxnSpLocks/>
                  <a:stCxn id="61" idx="3"/>
                  <a:endCxn id="13" idx="1"/>
                </p:cNvCxnSpPr>
                <p:nvPr/>
              </p:nvCxnSpPr>
              <p:spPr>
                <a:xfrm flipV="1">
                  <a:off x="3050249" y="1478106"/>
                  <a:ext cx="1018230" cy="1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61" name="图片 60" descr="图标&#10;&#10;描述已自动生成">
                  <a:extLst>
                    <a:ext uri="{FF2B5EF4-FFF2-40B4-BE49-F238E27FC236}">
                      <a16:creationId xmlns:a16="http://schemas.microsoft.com/office/drawing/2014/main" id="{BA5C1084-5B23-76E5-0036-AFAD8290E56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90249" y="1320901"/>
                  <a:ext cx="360000" cy="314411"/>
                </a:xfrm>
                <a:prstGeom prst="rect">
                  <a:avLst/>
                </a:prstGeom>
              </p:spPr>
            </p:pic>
            <p:sp>
              <p:nvSpPr>
                <p:cNvPr id="67" name="矩形: 圆角 66">
                  <a:extLst>
                    <a:ext uri="{FF2B5EF4-FFF2-40B4-BE49-F238E27FC236}">
                      <a16:creationId xmlns:a16="http://schemas.microsoft.com/office/drawing/2014/main" id="{0B49CA2A-BCE6-A620-ECEB-903E19781069}"/>
                    </a:ext>
                  </a:extLst>
                </p:cNvPr>
                <p:cNvSpPr/>
                <p:nvPr/>
              </p:nvSpPr>
              <p:spPr>
                <a:xfrm>
                  <a:off x="2574880" y="1237723"/>
                  <a:ext cx="509316" cy="468000"/>
                </a:xfrm>
                <a:prstGeom prst="roundRect">
                  <a:avLst/>
                </a:prstGeom>
                <a:noFill/>
                <a:ln>
                  <a:solidFill>
                    <a:srgbClr val="FFC000"/>
                  </a:solidFill>
                  <a:prstDash val="sysDot"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75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68" name="文本框 67">
                  <a:extLst>
                    <a:ext uri="{FF2B5EF4-FFF2-40B4-BE49-F238E27FC236}">
                      <a16:creationId xmlns:a16="http://schemas.microsoft.com/office/drawing/2014/main" id="{0B97CD5C-2C9E-0594-178F-DCB75A7A9961}"/>
                    </a:ext>
                  </a:extLst>
                </p:cNvPr>
                <p:cNvSpPr txBox="1"/>
                <p:nvPr/>
              </p:nvSpPr>
              <p:spPr>
                <a:xfrm>
                  <a:off x="2574880" y="1699139"/>
                  <a:ext cx="509317" cy="215436"/>
                </a:xfrm>
                <a:prstGeom prst="rect">
                  <a:avLst/>
                </a:prstGeom>
                <a:noFill/>
              </p:spPr>
              <p:txBody>
                <a:bodyPr wrap="square" lIns="0" rIns="0" rtlCol="0">
                  <a:spAutoFit/>
                </a:bodyPr>
                <a:lstStyle/>
                <a:p>
                  <a:pPr algn="ctr"/>
                  <a:r>
                    <a:rPr lang="en-US" altLang="zh-CN" sz="8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T</a:t>
                  </a:r>
                  <a:r>
                    <a:rPr lang="en-US" altLang="zh-CN" sz="800" b="1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1</a:t>
                  </a:r>
                  <a:r>
                    <a:rPr lang="en-US" altLang="zh-CN" sz="8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 WS</a:t>
                  </a:r>
                  <a:endParaRPr lang="zh-CN" altLang="en-US" sz="8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69" name="文本框 68">
                  <a:extLst>
                    <a:ext uri="{FF2B5EF4-FFF2-40B4-BE49-F238E27FC236}">
                      <a16:creationId xmlns:a16="http://schemas.microsoft.com/office/drawing/2014/main" id="{176BB108-A246-B0B5-415F-04FA4FF5BCF3}"/>
                    </a:ext>
                  </a:extLst>
                </p:cNvPr>
                <p:cNvSpPr txBox="1"/>
                <p:nvPr/>
              </p:nvSpPr>
              <p:spPr>
                <a:xfrm>
                  <a:off x="3993821" y="1700532"/>
                  <a:ext cx="509317" cy="215444"/>
                </a:xfrm>
                <a:prstGeom prst="rect">
                  <a:avLst/>
                </a:prstGeom>
                <a:noFill/>
              </p:spPr>
              <p:txBody>
                <a:bodyPr wrap="square" lIns="0" rIns="0" rtlCol="0">
                  <a:spAutoFit/>
                </a:bodyPr>
                <a:lstStyle/>
                <a:p>
                  <a:pPr algn="ctr"/>
                  <a:r>
                    <a:rPr lang="en-US" altLang="zh-CN" sz="8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T</a:t>
                  </a:r>
                  <a:r>
                    <a:rPr lang="en-US" altLang="zh-CN" sz="800" b="1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1.5</a:t>
                  </a:r>
                  <a:r>
                    <a:rPr lang="en-US" altLang="zh-CN" sz="8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 WS</a:t>
                  </a:r>
                  <a:endParaRPr lang="zh-CN" altLang="en-US" sz="8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71" name="文本框 70">
                  <a:extLst>
                    <a:ext uri="{FF2B5EF4-FFF2-40B4-BE49-F238E27FC236}">
                      <a16:creationId xmlns:a16="http://schemas.microsoft.com/office/drawing/2014/main" id="{32D7328F-774A-D589-503A-972F870B8C97}"/>
                    </a:ext>
                  </a:extLst>
                </p:cNvPr>
                <p:cNvSpPr txBox="1"/>
                <p:nvPr/>
              </p:nvSpPr>
              <p:spPr>
                <a:xfrm>
                  <a:off x="4899369" y="2292165"/>
                  <a:ext cx="509317" cy="215444"/>
                </a:xfrm>
                <a:prstGeom prst="rect">
                  <a:avLst/>
                </a:prstGeom>
                <a:noFill/>
              </p:spPr>
              <p:txBody>
                <a:bodyPr wrap="square" lIns="0" rIns="0" rtlCol="0">
                  <a:spAutoFit/>
                </a:bodyPr>
                <a:lstStyle/>
                <a:p>
                  <a:pPr algn="ctr"/>
                  <a:r>
                    <a:rPr lang="en-US" altLang="zh-CN" sz="8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T</a:t>
                  </a:r>
                  <a:r>
                    <a:rPr lang="en-US" altLang="zh-CN" sz="800" b="1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2</a:t>
                  </a:r>
                  <a:r>
                    <a:rPr lang="en-US" altLang="zh-CN" sz="8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 WS</a:t>
                  </a:r>
                  <a:endParaRPr lang="zh-CN" altLang="en-US" sz="8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72" name="文本框 71">
                  <a:extLst>
                    <a:ext uri="{FF2B5EF4-FFF2-40B4-BE49-F238E27FC236}">
                      <a16:creationId xmlns:a16="http://schemas.microsoft.com/office/drawing/2014/main" id="{6965010C-1861-0013-A423-35F1FE430D6E}"/>
                    </a:ext>
                  </a:extLst>
                </p:cNvPr>
                <p:cNvSpPr txBox="1"/>
                <p:nvPr/>
              </p:nvSpPr>
              <p:spPr>
                <a:xfrm>
                  <a:off x="6376796" y="1370384"/>
                  <a:ext cx="509317" cy="215444"/>
                </a:xfrm>
                <a:prstGeom prst="rect">
                  <a:avLst/>
                </a:prstGeom>
                <a:noFill/>
              </p:spPr>
              <p:txBody>
                <a:bodyPr wrap="square" lIns="0" rIns="0" rtlCol="0">
                  <a:spAutoFit/>
                </a:bodyPr>
                <a:lstStyle/>
                <a:p>
                  <a:pPr algn="ctr"/>
                  <a:r>
                    <a:rPr lang="en-US" altLang="zh-CN" sz="8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POC</a:t>
                  </a:r>
                  <a:endParaRPr lang="zh-CN" altLang="en-US" sz="8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74" name="文本框 73">
                  <a:extLst>
                    <a:ext uri="{FF2B5EF4-FFF2-40B4-BE49-F238E27FC236}">
                      <a16:creationId xmlns:a16="http://schemas.microsoft.com/office/drawing/2014/main" id="{8EAE5F9B-2627-671F-AB05-ABE2D6EB9C7D}"/>
                    </a:ext>
                  </a:extLst>
                </p:cNvPr>
                <p:cNvSpPr txBox="1"/>
                <p:nvPr/>
              </p:nvSpPr>
              <p:spPr>
                <a:xfrm>
                  <a:off x="6360190" y="2019147"/>
                  <a:ext cx="509317" cy="215444"/>
                </a:xfrm>
                <a:prstGeom prst="rect">
                  <a:avLst/>
                </a:prstGeom>
                <a:noFill/>
              </p:spPr>
              <p:txBody>
                <a:bodyPr wrap="square" lIns="0" rIns="0" rtlCol="0">
                  <a:spAutoFit/>
                </a:bodyPr>
                <a:lstStyle/>
                <a:p>
                  <a:pPr algn="ctr"/>
                  <a:r>
                    <a:rPr lang="en-US" altLang="zh-CN" sz="8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POC</a:t>
                  </a:r>
                  <a:endParaRPr lang="zh-CN" altLang="en-US" sz="8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pic>
              <p:nvPicPr>
                <p:cNvPr id="76" name="图片 75" descr="图片包含 徽标&#10;&#10;描述已自动生成">
                  <a:extLst>
                    <a:ext uri="{FF2B5EF4-FFF2-40B4-BE49-F238E27FC236}">
                      <a16:creationId xmlns:a16="http://schemas.microsoft.com/office/drawing/2014/main" id="{724DB762-6CBF-E33B-FFFD-89ECD9C563E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85949" y="2612736"/>
                  <a:ext cx="360000" cy="325792"/>
                </a:xfrm>
                <a:prstGeom prst="rect">
                  <a:avLst/>
                </a:prstGeom>
              </p:spPr>
            </p:pic>
            <p:sp>
              <p:nvSpPr>
                <p:cNvPr id="77" name="文本框 76">
                  <a:extLst>
                    <a:ext uri="{FF2B5EF4-FFF2-40B4-BE49-F238E27FC236}">
                      <a16:creationId xmlns:a16="http://schemas.microsoft.com/office/drawing/2014/main" id="{2F5D2957-1E47-B4E2-99B0-7A90F0112977}"/>
                    </a:ext>
                  </a:extLst>
                </p:cNvPr>
                <p:cNvSpPr txBox="1"/>
                <p:nvPr/>
              </p:nvSpPr>
              <p:spPr>
                <a:xfrm>
                  <a:off x="6376796" y="2667910"/>
                  <a:ext cx="509317" cy="215444"/>
                </a:xfrm>
                <a:prstGeom prst="rect">
                  <a:avLst/>
                </a:prstGeom>
                <a:noFill/>
              </p:spPr>
              <p:txBody>
                <a:bodyPr wrap="square" lIns="0" rIns="0" rtlCol="0">
                  <a:spAutoFit/>
                </a:bodyPr>
                <a:lstStyle/>
                <a:p>
                  <a:pPr algn="ctr"/>
                  <a:r>
                    <a:rPr lang="en-US" altLang="zh-CN" sz="8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POC</a:t>
                  </a:r>
                  <a:endParaRPr lang="zh-CN" altLang="en-US" sz="8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cxnSp>
              <p:nvCxnSpPr>
                <p:cNvPr id="90" name="连接符: 肘形 89">
                  <a:extLst>
                    <a:ext uri="{FF2B5EF4-FFF2-40B4-BE49-F238E27FC236}">
                      <a16:creationId xmlns:a16="http://schemas.microsoft.com/office/drawing/2014/main" id="{E00BA1C0-55CC-571D-996D-A669F21A4EE8}"/>
                    </a:ext>
                  </a:extLst>
                </p:cNvPr>
                <p:cNvCxnSpPr>
                  <a:cxnSpLocks/>
                  <a:stCxn id="68" idx="2"/>
                  <a:endCxn id="9" idx="1"/>
                </p:cNvCxnSpPr>
                <p:nvPr/>
              </p:nvCxnSpPr>
              <p:spPr>
                <a:xfrm rot="16200000" flipH="1">
                  <a:off x="3795636" y="948477"/>
                  <a:ext cx="212294" cy="2144489"/>
                </a:xfrm>
                <a:prstGeom prst="bentConnector2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连接符: 肘形 92">
                  <a:extLst>
                    <a:ext uri="{FF2B5EF4-FFF2-40B4-BE49-F238E27FC236}">
                      <a16:creationId xmlns:a16="http://schemas.microsoft.com/office/drawing/2014/main" id="{902FDDD7-9F61-7FD3-D4FC-CFD183B1A3E0}"/>
                    </a:ext>
                  </a:extLst>
                </p:cNvPr>
                <p:cNvCxnSpPr>
                  <a:cxnSpLocks/>
                  <a:stCxn id="68" idx="2"/>
                  <a:endCxn id="76" idx="1"/>
                </p:cNvCxnSpPr>
                <p:nvPr/>
              </p:nvCxnSpPr>
              <p:spPr>
                <a:xfrm rot="16200000" flipH="1">
                  <a:off x="4027216" y="716898"/>
                  <a:ext cx="861057" cy="3256410"/>
                </a:xfrm>
                <a:prstGeom prst="bentConnector2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96" name="Picture 2">
                  <a:extLst>
                    <a:ext uri="{FF2B5EF4-FFF2-40B4-BE49-F238E27FC236}">
                      <a16:creationId xmlns:a16="http://schemas.microsoft.com/office/drawing/2014/main" id="{BBD11489-3F56-97F5-2B90-E66B6D99EC2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424814" y="1248061"/>
                  <a:ext cx="216000" cy="216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97" name="Picture 3">
                  <a:extLst>
                    <a:ext uri="{FF2B5EF4-FFF2-40B4-BE49-F238E27FC236}">
                      <a16:creationId xmlns:a16="http://schemas.microsoft.com/office/drawing/2014/main" id="{0974D753-57DC-9074-774F-E6AE65A0B31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424814" y="2547356"/>
                  <a:ext cx="216000" cy="216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98" name="Picture 3">
                  <a:extLst>
                    <a:ext uri="{FF2B5EF4-FFF2-40B4-BE49-F238E27FC236}">
                      <a16:creationId xmlns:a16="http://schemas.microsoft.com/office/drawing/2014/main" id="{620E0298-54CE-1282-5716-9871BDB430A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428178" y="1899178"/>
                  <a:ext cx="216000" cy="216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99" name="Picture 3">
                  <a:extLst>
                    <a:ext uri="{FF2B5EF4-FFF2-40B4-BE49-F238E27FC236}">
                      <a16:creationId xmlns:a16="http://schemas.microsoft.com/office/drawing/2014/main" id="{FB26BAE1-2F7F-1613-1A1D-6E3302B9DC7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41214" y="1254408"/>
                  <a:ext cx="216000" cy="216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15" name="Picture 3">
                <a:extLst>
                  <a:ext uri="{FF2B5EF4-FFF2-40B4-BE49-F238E27FC236}">
                    <a16:creationId xmlns:a16="http://schemas.microsoft.com/office/drawing/2014/main" id="{54CBCEFF-AF4F-B6C6-63A6-A17BA97268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330" y="1929040"/>
                <a:ext cx="216000" cy="21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8" name="左大括号 17">
              <a:extLst>
                <a:ext uri="{FF2B5EF4-FFF2-40B4-BE49-F238E27FC236}">
                  <a16:creationId xmlns:a16="http://schemas.microsoft.com/office/drawing/2014/main" id="{6450D920-29B0-330F-04A3-A608F8731EEE}"/>
                </a:ext>
              </a:extLst>
            </p:cNvPr>
            <p:cNvSpPr/>
            <p:nvPr/>
          </p:nvSpPr>
          <p:spPr>
            <a:xfrm rot="16200000" flipH="1">
              <a:off x="1113355" y="1875112"/>
              <a:ext cx="108000" cy="540000"/>
            </a:xfrm>
            <a:prstGeom prst="leftBrace">
              <a:avLst>
                <a:gd name="adj1" fmla="val 32965"/>
                <a:gd name="adj2" fmla="val 50000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F00A4CC6-E47D-5F79-99ED-2ABB1A379257}"/>
                </a:ext>
              </a:extLst>
            </p:cNvPr>
            <p:cNvSpPr txBox="1"/>
            <p:nvPr/>
          </p:nvSpPr>
          <p:spPr>
            <a:xfrm>
              <a:off x="928814" y="1896729"/>
              <a:ext cx="50291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en-US" altLang="zh-CN" sz="900" b="1" dirty="0">
                  <a:latin typeface="Calibri" panose="020F0502020204030204" pitchFamily="34" charset="0"/>
                  <a:cs typeface="Calibri" panose="020F0502020204030204" pitchFamily="34" charset="0"/>
                </a:rPr>
                <a:t>STW</a:t>
              </a:r>
              <a:endParaRPr kumimoji="1" lang="en-US" altLang="zh-CN" sz="9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AF468279-19A9-6054-5978-652B157B01C1}"/>
                </a:ext>
              </a:extLst>
            </p:cNvPr>
            <p:cNvSpPr txBox="1"/>
            <p:nvPr/>
          </p:nvSpPr>
          <p:spPr>
            <a:xfrm>
              <a:off x="2734252" y="1895786"/>
              <a:ext cx="50291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en-US" altLang="zh-CN" sz="900" b="1" dirty="0">
                  <a:latin typeface="Calibri" panose="020F0502020204030204" pitchFamily="34" charset="0"/>
                  <a:cs typeface="Calibri" panose="020F0502020204030204" pitchFamily="34" charset="0"/>
                </a:rPr>
                <a:t>STR</a:t>
              </a:r>
              <a:endParaRPr kumimoji="1" lang="en-US" altLang="zh-CN" sz="9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左大括号 21">
              <a:extLst>
                <a:ext uri="{FF2B5EF4-FFF2-40B4-BE49-F238E27FC236}">
                  <a16:creationId xmlns:a16="http://schemas.microsoft.com/office/drawing/2014/main" id="{F9D0FB19-228E-346B-0E05-44AC94F43DB5}"/>
                </a:ext>
              </a:extLst>
            </p:cNvPr>
            <p:cNvSpPr/>
            <p:nvPr/>
          </p:nvSpPr>
          <p:spPr>
            <a:xfrm rot="16200000" flipH="1">
              <a:off x="2931709" y="1061546"/>
              <a:ext cx="108000" cy="2160000"/>
            </a:xfrm>
            <a:prstGeom prst="leftBrace">
              <a:avLst>
                <a:gd name="adj1" fmla="val 32965"/>
                <a:gd name="adj2" fmla="val 50000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23" name="直线连接符 5">
            <a:extLst>
              <a:ext uri="{FF2B5EF4-FFF2-40B4-BE49-F238E27FC236}">
                <a16:creationId xmlns:a16="http://schemas.microsoft.com/office/drawing/2014/main" id="{C8251581-8BEA-5751-0A0F-314030EE1CA0}"/>
              </a:ext>
            </a:extLst>
          </p:cNvPr>
          <p:cNvCxnSpPr>
            <a:cxnSpLocks/>
          </p:cNvCxnSpPr>
          <p:nvPr/>
        </p:nvCxnSpPr>
        <p:spPr>
          <a:xfrm>
            <a:off x="312531" y="1583840"/>
            <a:ext cx="4126468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文本框 23">
            <a:extLst>
              <a:ext uri="{FF2B5EF4-FFF2-40B4-BE49-F238E27FC236}">
                <a16:creationId xmlns:a16="http://schemas.microsoft.com/office/drawing/2014/main" id="{47D1D47E-2E4C-DD6B-C8CF-9D6BAA266798}"/>
              </a:ext>
            </a:extLst>
          </p:cNvPr>
          <p:cNvSpPr txBox="1"/>
          <p:nvPr/>
        </p:nvSpPr>
        <p:spPr>
          <a:xfrm>
            <a:off x="1800112" y="1326375"/>
            <a:ext cx="13978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b="1" i="1" dirty="0"/>
              <a:t>Data</a:t>
            </a:r>
            <a:r>
              <a:rPr kumimoji="1" lang="zh-CN" altLang="en-US" sz="1200" b="1" i="1" dirty="0"/>
              <a:t> </a:t>
            </a:r>
            <a:r>
              <a:rPr kumimoji="1" lang="en-US" altLang="zh-CN" sz="1200" b="1" i="1" dirty="0"/>
              <a:t>/</a:t>
            </a:r>
            <a:r>
              <a:rPr kumimoji="1" lang="zh-CN" altLang="en-US" sz="1200" b="1" i="1" dirty="0"/>
              <a:t> </a:t>
            </a:r>
            <a:r>
              <a:rPr kumimoji="1" lang="en-US" altLang="zh-CN" sz="1200" b="1" i="1" dirty="0"/>
              <a:t>Account</a:t>
            </a:r>
            <a:endParaRPr kumimoji="1" lang="zh-CN" altLang="en-US" sz="1200" b="1" i="1" dirty="0"/>
          </a:p>
        </p:txBody>
      </p:sp>
      <p:cxnSp>
        <p:nvCxnSpPr>
          <p:cNvPr id="26" name="直线连接符 15">
            <a:extLst>
              <a:ext uri="{FF2B5EF4-FFF2-40B4-BE49-F238E27FC236}">
                <a16:creationId xmlns:a16="http://schemas.microsoft.com/office/drawing/2014/main" id="{17D694E6-19FC-7760-D239-FE90F14770A9}"/>
              </a:ext>
            </a:extLst>
          </p:cNvPr>
          <p:cNvCxnSpPr>
            <a:cxnSpLocks/>
          </p:cNvCxnSpPr>
          <p:nvPr/>
        </p:nvCxnSpPr>
        <p:spPr>
          <a:xfrm>
            <a:off x="4685568" y="1583840"/>
            <a:ext cx="4126468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文本框 26">
            <a:extLst>
              <a:ext uri="{FF2B5EF4-FFF2-40B4-BE49-F238E27FC236}">
                <a16:creationId xmlns:a16="http://schemas.microsoft.com/office/drawing/2014/main" id="{E62E84A7-418E-8065-9C73-2C056F33AAA7}"/>
              </a:ext>
            </a:extLst>
          </p:cNvPr>
          <p:cNvSpPr txBox="1"/>
          <p:nvPr/>
        </p:nvSpPr>
        <p:spPr>
          <a:xfrm>
            <a:off x="5806076" y="1297547"/>
            <a:ext cx="18760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1200" b="1" i="1" dirty="0"/>
              <a:t>Calculation Logic</a:t>
            </a:r>
            <a:endParaRPr kumimoji="1" lang="zh-CN" altLang="en-US" sz="1200" b="1" i="1" dirty="0"/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05EE35E1-0D56-1A25-91C5-43F4B357CC4C}"/>
              </a:ext>
            </a:extLst>
          </p:cNvPr>
          <p:cNvSpPr txBox="1"/>
          <p:nvPr/>
        </p:nvSpPr>
        <p:spPr>
          <a:xfrm>
            <a:off x="5257192" y="2433953"/>
            <a:ext cx="35548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Separate T1.5 from T2</a:t>
            </a: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Get historical STR data, if affiliated T1 WS sometimes equals to the current WS </a:t>
            </a:r>
            <a:r>
              <a:rPr kumimoji="1" lang="zh-CN" alt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→</a:t>
            </a: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T1.5</a:t>
            </a:r>
            <a:r>
              <a:rPr kumimoji="1" lang="zh-CN" alt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W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Affiliated T1 WS always not equal </a:t>
            </a:r>
            <a:r>
              <a:rPr kumimoji="1" lang="zh-CN" alt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→</a:t>
            </a: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T2 WS</a:t>
            </a:r>
            <a:endParaRPr kumimoji="1" lang="zh-CN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0A1C06F3-E1B4-BF3F-0F70-935B49B2A207}"/>
              </a:ext>
            </a:extLst>
          </p:cNvPr>
          <p:cNvSpPr txBox="1"/>
          <p:nvPr/>
        </p:nvSpPr>
        <p:spPr>
          <a:xfrm>
            <a:off x="5257192" y="4271957"/>
            <a:ext cx="35548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800" b="1" i="1" dirty="0">
                <a:latin typeface="Calibri" panose="020F0502020204030204" pitchFamily="34" charset="0"/>
                <a:cs typeface="Calibri" panose="020F0502020204030204" pitchFamily="34" charset="0"/>
              </a:rPr>
              <a:t>Note</a:t>
            </a:r>
            <a:r>
              <a:rPr kumimoji="1" lang="en-US" altLang="zh-CN" sz="800" i="1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800" i="1" dirty="0">
                <a:latin typeface="Calibri" panose="020F0502020204030204" pitchFamily="34" charset="0"/>
                <a:cs typeface="Calibri" panose="020F0502020204030204" pitchFamily="34" charset="0"/>
              </a:rPr>
              <a:t>Wholesaler identity could change in the pa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800" i="1" dirty="0">
                <a:latin typeface="Calibri" panose="020F0502020204030204" pitchFamily="34" charset="0"/>
                <a:cs typeface="Calibri" panose="020F0502020204030204" pitchFamily="34" charset="0"/>
              </a:rPr>
              <a:t>Only have POC ID (no WS ID) in the STR data, POC mapping relation often changes</a:t>
            </a:r>
            <a:endParaRPr kumimoji="1" lang="zh-CN" altLang="en-US" sz="8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BC015B97-B316-8CD7-9A66-FA37219E2DBC}"/>
              </a:ext>
            </a:extLst>
          </p:cNvPr>
          <p:cNvSpPr txBox="1"/>
          <p:nvPr/>
        </p:nvSpPr>
        <p:spPr>
          <a:xfrm>
            <a:off x="5257192" y="3293097"/>
            <a:ext cx="355484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000" b="1" dirty="0">
                <a:latin typeface="Calibri" panose="020F0502020204030204" pitchFamily="34" charset="0"/>
                <a:cs typeface="Calibri" panose="020F0502020204030204" pitchFamily="34" charset="0"/>
              </a:rPr>
              <a:t>Get STR Qty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000" b="1" i="1" dirty="0">
                <a:latin typeface="Calibri" panose="020F0502020204030204" pitchFamily="34" charset="0"/>
                <a:cs typeface="Calibri" panose="020F0502020204030204" pitchFamily="34" charset="0"/>
              </a:rPr>
              <a:t>T1.5 send to POCs</a:t>
            </a: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: have affiliated T1, with “True” STR label</a:t>
            </a:r>
            <a:endParaRPr kumimoji="1" lang="en-US" altLang="zh-CN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000" b="1" i="1" dirty="0">
                <a:latin typeface="Calibri" panose="020F0502020204030204" pitchFamily="34" charset="0"/>
                <a:cs typeface="Calibri" panose="020F0502020204030204" pitchFamily="34" charset="0"/>
              </a:rPr>
              <a:t>T1 send to T2</a:t>
            </a: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: have affiliated T1, with “False” STR lab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zh-CN" sz="1000" b="1" i="1" dirty="0">
                <a:latin typeface="Calibri" panose="020F0502020204030204" pitchFamily="34" charset="0"/>
                <a:cs typeface="Calibri" panose="020F0502020204030204" pitchFamily="34" charset="0"/>
              </a:rPr>
              <a:t>T1 send to POC</a:t>
            </a:r>
            <a:r>
              <a:rPr kumimoji="1" lang="en-US" altLang="zh-CN" sz="1000" dirty="0">
                <a:latin typeface="Calibri" panose="020F0502020204030204" pitchFamily="34" charset="0"/>
                <a:cs typeface="Calibri" panose="020F0502020204030204" pitchFamily="34" charset="0"/>
              </a:rPr>
              <a:t>: affiliated T1 equals to current WS ID, with “True” STR label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20B6C6B-2D73-D93B-2C41-8E027EAE0275}"/>
              </a:ext>
            </a:extLst>
          </p:cNvPr>
          <p:cNvSpPr txBox="1"/>
          <p:nvPr/>
        </p:nvSpPr>
        <p:spPr>
          <a:xfrm>
            <a:off x="236416" y="536047"/>
            <a:ext cx="433558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100" b="1" i="1" dirty="0">
                <a:solidFill>
                  <a:srgbClr val="0070C0"/>
                </a:solidFill>
              </a:rPr>
              <a:t>T1</a:t>
            </a:r>
            <a:r>
              <a:rPr lang="en-US" altLang="zh-CN" sz="1100" i="1" dirty="0"/>
              <a:t> WS: only purchase beer from AB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CN" sz="1100" b="1" i="1" dirty="0">
                <a:solidFill>
                  <a:srgbClr val="0070C0"/>
                </a:solidFill>
              </a:rPr>
              <a:t>T1.5</a:t>
            </a:r>
            <a:r>
              <a:rPr lang="en-US" altLang="zh-CN" sz="1100" i="1" dirty="0"/>
              <a:t> WS: purchase beer from ABI as well as from other T1 WS</a:t>
            </a:r>
            <a:endParaRPr lang="zh-CN" altLang="en-US" sz="1100" i="1" dirty="0"/>
          </a:p>
        </p:txBody>
      </p:sp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A67EFBBA-C56E-F9A0-F35A-43033704D9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0210788"/>
              </p:ext>
            </p:extLst>
          </p:nvPr>
        </p:nvGraphicFramePr>
        <p:xfrm>
          <a:off x="4961365" y="583232"/>
          <a:ext cx="1821000" cy="457991"/>
        </p:xfrm>
        <a:graphic>
          <a:graphicData uri="http://schemas.openxmlformats.org/drawingml/2006/table">
            <a:tbl>
              <a:tblPr/>
              <a:tblGrid>
                <a:gridCol w="381000">
                  <a:extLst>
                    <a:ext uri="{9D8B030D-6E8A-4147-A177-3AD203B41FA5}">
                      <a16:colId xmlns:a16="http://schemas.microsoft.com/office/drawing/2014/main" val="557120774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0988957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476583896"/>
                    </a:ext>
                  </a:extLst>
                </a:gridCol>
              </a:tblGrid>
              <a:tr h="168431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　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Number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Case from ABI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5556247"/>
                  </a:ext>
                </a:extLst>
              </a:tr>
              <a:tr h="13666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T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74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87.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8079011"/>
                  </a:ext>
                </a:extLst>
              </a:tr>
              <a:tr h="13666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T1.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26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13.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6155129"/>
                  </a:ext>
                </a:extLst>
              </a:tr>
            </a:tbl>
          </a:graphicData>
        </a:graphic>
      </p:graphicFrame>
      <p:graphicFrame>
        <p:nvGraphicFramePr>
          <p:cNvPr id="10" name="表格 9">
            <a:extLst>
              <a:ext uri="{FF2B5EF4-FFF2-40B4-BE49-F238E27FC236}">
                <a16:creationId xmlns:a16="http://schemas.microsoft.com/office/drawing/2014/main" id="{99A64380-EC82-AAD5-C2BE-3D4E8B6272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272442"/>
              </p:ext>
            </p:extLst>
          </p:nvPr>
        </p:nvGraphicFramePr>
        <p:xfrm>
          <a:off x="7171731" y="583232"/>
          <a:ext cx="1224000" cy="457991"/>
        </p:xfrm>
        <a:graphic>
          <a:graphicData uri="http://schemas.openxmlformats.org/drawingml/2006/table">
            <a:tbl>
              <a:tblPr/>
              <a:tblGrid>
                <a:gridCol w="720000">
                  <a:extLst>
                    <a:ext uri="{9D8B030D-6E8A-4147-A177-3AD203B41FA5}">
                      <a16:colId xmlns:a16="http://schemas.microsoft.com/office/drawing/2014/main" val="557120774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3409889576"/>
                    </a:ext>
                  </a:extLst>
                </a:gridCol>
              </a:tblGrid>
              <a:tr h="16843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For T1.5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等线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5556247"/>
                  </a:ext>
                </a:extLst>
              </a:tr>
              <a:tr h="13666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Case from AB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77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8079011"/>
                  </a:ext>
                </a:extLst>
              </a:tr>
              <a:tr h="136663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Case from T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等线" panose="02010600030101010101" pitchFamily="2" charset="-122"/>
                          <a:cs typeface="Calibri" panose="020F0502020204030204" pitchFamily="34" charset="0"/>
                        </a:rPr>
                        <a:t>23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61551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64324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Jys8P04cPAq2TRTvuP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heme/theme1.xml><?xml version="1.0" encoding="utf-8"?>
<a:theme xmlns:a="http://schemas.openxmlformats.org/drawingml/2006/main" name="1_ABIinBev_4x3_v1">
  <a:themeElements>
    <a:clrScheme name="BUD APAC">
      <a:dk1>
        <a:srgbClr val="000000"/>
      </a:dk1>
      <a:lt1>
        <a:srgbClr val="FFFFFF"/>
      </a:lt1>
      <a:dk2>
        <a:srgbClr val="CF0A2C"/>
      </a:dk2>
      <a:lt2>
        <a:srgbClr val="000000"/>
      </a:lt2>
      <a:accent1>
        <a:srgbClr val="FFFFFF"/>
      </a:accent1>
      <a:accent2>
        <a:srgbClr val="76161B"/>
      </a:accent2>
      <a:accent3>
        <a:srgbClr val="CF0A2C"/>
      </a:accent3>
      <a:accent4>
        <a:srgbClr val="000000"/>
      </a:accent4>
      <a:accent5>
        <a:srgbClr val="FFFFFF"/>
      </a:accent5>
      <a:accent6>
        <a:srgbClr val="76161B"/>
      </a:accent6>
      <a:hlink>
        <a:srgbClr val="0070C0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sz="750" dirty="0">
            <a:solidFill>
              <a:srgbClr val="000000"/>
            </a:solidFill>
            <a:latin typeface="Arial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879aa9b-2b92-4d3c-9e66-0e90053b8aa5" xsi:nil="true"/>
    <lcf76f155ced4ddcb4097134ff3c332f xmlns="1198794d-9226-4c56-9d53-bced25c3d683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93C2610CDAD4F8BAF0B7B4A4DA708" ma:contentTypeVersion="14" ma:contentTypeDescription="Create a new document." ma:contentTypeScope="" ma:versionID="8a416fa1f8e743d231fe1e50d54bb895">
  <xsd:schema xmlns:xsd="http://www.w3.org/2001/XMLSchema" xmlns:xs="http://www.w3.org/2001/XMLSchema" xmlns:p="http://schemas.microsoft.com/office/2006/metadata/properties" xmlns:ns2="1198794d-9226-4c56-9d53-bced25c3d683" xmlns:ns3="e879aa9b-2b92-4d3c-9e66-0e90053b8aa5" targetNamespace="http://schemas.microsoft.com/office/2006/metadata/properties" ma:root="true" ma:fieldsID="f83a8ace296069a75b7b2c7a9a7af822" ns2:_="" ns3:_="">
    <xsd:import namespace="1198794d-9226-4c56-9d53-bced25c3d683"/>
    <xsd:import namespace="e879aa9b-2b92-4d3c-9e66-0e90053b8a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98794d-9226-4c56-9d53-bced25c3d68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2e2deea9-f698-482e-8f77-105b59b605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79aa9b-2b92-4d3c-9e66-0e90053b8aa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a91305ac-5c8d-472e-a2cc-092e6f3ada35}" ma:internalName="TaxCatchAll" ma:showField="CatchAllData" ma:web="e879aa9b-2b92-4d3c-9e66-0e90053b8a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CA42647-08AA-4ECD-9C5C-7E938745D85E}">
  <ds:schemaRefs>
    <ds:schemaRef ds:uri="1198794d-9226-4c56-9d53-bced25c3d683"/>
    <ds:schemaRef ds:uri="2a161230-48a8-4389-8e08-8239f7d82354"/>
    <ds:schemaRef ds:uri="e879aa9b-2b92-4d3c-9e66-0e90053b8aa5"/>
    <ds:schemaRef ds:uri="f7a90bc9-38ab-4b50-858e-7b414dadf68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CB2BE9C-C760-48CA-B98E-FF9CE84719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6ED4E74-8261-48E8-9BDC-0890EB157A3B}">
  <ds:schemaRefs>
    <ds:schemaRef ds:uri="1198794d-9226-4c56-9d53-bced25c3d683"/>
    <ds:schemaRef ds:uri="e879aa9b-2b92-4d3c-9e66-0e90053b8aa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BIinBev_4x3_v1</Template>
  <TotalTime>5164</TotalTime>
  <Words>774</Words>
  <Application>Microsoft Office PowerPoint</Application>
  <PresentationFormat>全屏显示(16:9)</PresentationFormat>
  <Paragraphs>179</Paragraphs>
  <Slides>8</Slides>
  <Notes>0</Notes>
  <HiddenSlides>1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3" baseType="lpstr">
      <vt:lpstr>Arial</vt:lpstr>
      <vt:lpstr>Calibri</vt:lpstr>
      <vt:lpstr>Century Gothic</vt:lpstr>
      <vt:lpstr>1_ABIinBev_4x3_v1</vt:lpstr>
      <vt:lpstr>think-cell Slide</vt:lpstr>
      <vt:lpstr>PowerPoint 演示文稿</vt:lpstr>
      <vt:lpstr>PowerPoint 演示文稿</vt:lpstr>
      <vt:lpstr>PowerPoint 演示文稿</vt:lpstr>
      <vt:lpstr>Thank you !</vt:lpstr>
      <vt:lpstr>PowerPoint 演示文稿</vt:lpstr>
      <vt:lpstr>方式一</vt:lpstr>
      <vt:lpstr>方式二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dit Committee - Internal Control Update</dc:title>
  <dc:creator>Van Beirendonck, Willem</dc:creator>
  <cp:lastModifiedBy>Jiang, Nancy</cp:lastModifiedBy>
  <cp:revision>21</cp:revision>
  <cp:lastPrinted>2018-03-05T13:28:12Z</cp:lastPrinted>
  <dcterms:created xsi:type="dcterms:W3CDTF">2016-09-21T13:44:04Z</dcterms:created>
  <dcterms:modified xsi:type="dcterms:W3CDTF">2024-12-20T06:0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A0A93C2610CDAD4F8BAF0B7B4A4DA708</vt:lpwstr>
  </property>
</Properties>
</file>